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embeddings/oleObject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8"/>
  </p:notesMasterIdLst>
  <p:handoutMasterIdLst>
    <p:handoutMasterId r:id="rId9"/>
  </p:handoutMasterIdLst>
  <p:sldIdLst>
    <p:sldId id="2147376831" r:id="rId5"/>
    <p:sldId id="2147481231" r:id="rId6"/>
    <p:sldId id="2147481232" r:id="rId7"/>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31D826-15AC-0AE9-5FA4-C7C4BD4D07A9}" v="12" dt="2025-05-30T11:29:27.479"/>
  </p1510:revLst>
</p1510:revInfo>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1" d="100"/>
          <a:sy n="71" d="100"/>
        </p:scale>
        <p:origin x="460" y="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notesMaster" Target="notesMasters/notesMaster1.xml"/><Relationship Id="rId9" Type="http://schemas.openxmlformats.org/officeDocument/2006/relationships/handoutMaster" Target="handoutMasters/handoutMaster1.xml"/><Relationship Id="rId10" Type="http://schemas.openxmlformats.org/officeDocument/2006/relationships/tags" Target="tags/tag1.xml"/><Relationship Id="rId11" Type="http://schemas.openxmlformats.org/officeDocument/2006/relationships/presProps" Target="presProps.xml"/><Relationship Id="rId12" Type="http://schemas.openxmlformats.org/officeDocument/2006/relationships/viewProps" Target="viewProps.xml"/><Relationship Id="rId13" Type="http://schemas.openxmlformats.org/officeDocument/2006/relationships/theme" Target="theme/theme1.xml"/><Relationship Id="rId14" Type="http://schemas.openxmlformats.org/officeDocument/2006/relationships/tableStyles" Target="tableStyles.xml"/><Relationship Id="rId15" Type="http://schemas.microsoft.com/office/2016/11/relationships/changesInfo" Target="changesInfos/changesInfo1.xml"/><Relationship Id="rId16"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am Al Badawi" userId="S::ne015133@transco.ae::2b54086a-6fac-4fe1-b3bd-49b6f6c04f47" providerId="AD" clId="Web-{53E4E420-F866-6D0D-BDF9-1188EF8B1352}"/>
    <pc:docChg chg="modSld">
      <pc:chgData name="Maram Al Badawi" userId="S::ne015133@transco.ae::2b54086a-6fac-4fe1-b3bd-49b6f6c04f47" providerId="AD" clId="Web-{53E4E420-F866-6D0D-BDF9-1188EF8B1352}" dt="2025-05-20T03:52:01.780" v="1" actId="20577"/>
      <pc:docMkLst>
        <pc:docMk/>
      </pc:docMkLst>
      <pc:sldChg chg="modSp">
        <pc:chgData name="Maram Al Badawi" userId="S::ne015133@transco.ae::2b54086a-6fac-4fe1-b3bd-49b6f6c04f47" providerId="AD" clId="Web-{53E4E420-F866-6D0D-BDF9-1188EF8B1352}" dt="2025-05-20T03:52:01.780" v="1" actId="20577"/>
        <pc:sldMkLst>
          <pc:docMk/>
          <pc:sldMk cId="2205968895" sldId="2147481241"/>
        </pc:sldMkLst>
      </pc:sldChg>
    </pc:docChg>
  </pc:docChgLst>
  <pc:docChgLst>
    <pc:chgData name="Nabeel Dastgir" userId="8b997b98-987f-43a6-83c6-096155f157e5" providerId="ADAL" clId="{6CE43835-C4B8-49AC-86D8-A8B7534C8CA9}"/>
    <pc:docChg chg="custSel modSld">
      <pc:chgData name="Nabeel Dastgir" userId="8b997b98-987f-43a6-83c6-096155f157e5" providerId="ADAL" clId="{6CE43835-C4B8-49AC-86D8-A8B7534C8CA9}" dt="2025-03-12T07:00:25.813" v="424"/>
      <pc:docMkLst>
        <pc:docMk/>
      </pc:docMkLst>
      <pc:sldChg chg="addSp delSp modSp mod">
        <pc:chgData name="Nabeel Dastgir" userId="8b997b98-987f-43a6-83c6-096155f157e5" providerId="ADAL" clId="{6CE43835-C4B8-49AC-86D8-A8B7534C8CA9}" dt="2025-03-12T07:00:18.004" v="330"/>
        <pc:sldMkLst>
          <pc:docMk/>
          <pc:sldMk cId="374239166" sldId="272"/>
        </pc:sldMkLst>
        <pc:graphicFrameChg chg="mod">
          <ac:chgData name="Nabeel Dastgir" userId="8b997b98-987f-43a6-83c6-096155f157e5" providerId="ADAL" clId="{6CE43835-C4B8-49AC-86D8-A8B7534C8CA9}" dt="2025-03-12T07:00:18.004" v="330"/>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6CE43835-C4B8-49AC-86D8-A8B7534C8CA9}" dt="2025-03-12T06:59:47.473" v="114"/>
        <pc:sldMkLst>
          <pc:docMk/>
          <pc:sldMk cId="3440684613" sldId="2147376831"/>
        </pc:sldMkLst>
        <pc:spChg chg="mod">
          <ac:chgData name="Nabeel Dastgir" userId="8b997b98-987f-43a6-83c6-096155f157e5" providerId="ADAL" clId="{6CE43835-C4B8-49AC-86D8-A8B7534C8CA9}" dt="2025-03-12T06:59:47.453" v="89" actId="948"/>
          <ac:spMkLst>
            <pc:docMk/>
            <pc:sldMk cId="3440684613" sldId="2147376831"/>
            <ac:spMk id="4" creationId="{FF10E8DA-4CAF-F96C-6E64-A81849CD287F}"/>
          </ac:spMkLst>
        </pc:spChg>
        <pc:graphicFrameChg chg="mod">
          <ac:chgData name="Nabeel Dastgir" userId="8b997b98-987f-43a6-83c6-096155f157e5" providerId="ADAL" clId="{6CE43835-C4B8-49AC-86D8-A8B7534C8CA9}" dt="2025-03-12T06:59:47.473" v="114"/>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6CE43835-C4B8-49AC-86D8-A8B7534C8CA9}" dt="2025-03-12T07:00:04.656" v="277"/>
        <pc:sldMkLst>
          <pc:docMk/>
          <pc:sldMk cId="4014685245" sldId="2147481231"/>
        </pc:sldMkLst>
        <pc:graphicFrameChg chg="mod">
          <ac:chgData name="Nabeel Dastgir" userId="8b997b98-987f-43a6-83c6-096155f157e5" providerId="ADAL" clId="{6CE43835-C4B8-49AC-86D8-A8B7534C8CA9}" dt="2025-03-12T07:00:04.656" v="277"/>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6CE43835-C4B8-49AC-86D8-A8B7534C8CA9}" dt="2025-03-12T07:00:10.004" v="303"/>
        <pc:sldMkLst>
          <pc:docMk/>
          <pc:sldMk cId="1221362229" sldId="2147481232"/>
        </pc:sldMkLst>
        <pc:graphicFrameChg chg="mod">
          <ac:chgData name="Nabeel Dastgir" userId="8b997b98-987f-43a6-83c6-096155f157e5" providerId="ADAL" clId="{6CE43835-C4B8-49AC-86D8-A8B7534C8CA9}" dt="2025-03-12T07:00:10.004" v="303"/>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6CE43835-C4B8-49AC-86D8-A8B7534C8CA9}" dt="2025-03-12T07:00:13.854" v="304"/>
        <pc:sldMkLst>
          <pc:docMk/>
          <pc:sldMk cId="2281522627" sldId="2147481236"/>
        </pc:sldMkLst>
      </pc:sldChg>
      <pc:sldChg chg="addSp delSp modSp mod">
        <pc:chgData name="Nabeel Dastgir" userId="8b997b98-987f-43a6-83c6-096155f157e5" providerId="ADAL" clId="{6CE43835-C4B8-49AC-86D8-A8B7534C8CA9}" dt="2025-03-12T07:00:25.813" v="424"/>
        <pc:sldMkLst>
          <pc:docMk/>
          <pc:sldMk cId="3714057606" sldId="2147481238"/>
        </pc:sldMkLst>
        <pc:graphicFrameChg chg="mod">
          <ac:chgData name="Nabeel Dastgir" userId="8b997b98-987f-43a6-83c6-096155f157e5" providerId="ADAL" clId="{6CE43835-C4B8-49AC-86D8-A8B7534C8CA9}" dt="2025-03-12T07:00:25.813" v="424"/>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6CE43835-C4B8-49AC-86D8-A8B7534C8CA9}" dt="2025-03-12T07:00:22.754" v="398"/>
        <pc:sldMkLst>
          <pc:docMk/>
          <pc:sldMk cId="1431349737" sldId="2147481239"/>
        </pc:sldMkLst>
        <pc:graphicFrameChg chg="mod">
          <ac:chgData name="Nabeel Dastgir" userId="8b997b98-987f-43a6-83c6-096155f157e5" providerId="ADAL" clId="{6CE43835-C4B8-49AC-86D8-A8B7534C8CA9}" dt="2025-03-12T07:00:22.754" v="398"/>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6CE43835-C4B8-49AC-86D8-A8B7534C8CA9}" dt="2025-03-12T06:59:58.260" v="251"/>
        <pc:sldMkLst>
          <pc:docMk/>
          <pc:sldMk cId="2205968895" sldId="2147481241"/>
        </pc:sldMkLst>
      </pc:sldChg>
      <pc:sldChg chg="addSp delSp modSp mod">
        <pc:chgData name="Nabeel Dastgir" userId="8b997b98-987f-43a6-83c6-096155f157e5" providerId="ADAL" clId="{6CE43835-C4B8-49AC-86D8-A8B7534C8CA9}" dt="2025-03-12T07:00:20.417" v="372"/>
        <pc:sldMkLst>
          <pc:docMk/>
          <pc:sldMk cId="3299405138" sldId="2147481253"/>
        </pc:sldMkLst>
      </pc:sldChg>
    </pc:docChg>
  </pc:docChgLst>
  <pc:docChgLst>
    <pc:chgData name="Maram Al Badawi" userId="2b54086a-6fac-4fe1-b3bd-49b6f6c04f47" providerId="ADAL" clId="{FB1C1305-3597-4E5C-B0C1-0D032F64CE30}"/>
    <pc:docChg chg="custSel modSld">
      <pc:chgData name="Maram Al Badawi" userId="2b54086a-6fac-4fe1-b3bd-49b6f6c04f47" providerId="ADAL" clId="{FB1C1305-3597-4E5C-B0C1-0D032F64CE30}" dt="2025-05-20T05:05:40.422" v="65" actId="20577"/>
      <pc:docMkLst>
        <pc:docMk/>
      </pc:docMkLst>
      <pc:sldChg chg="addSp modSp mod">
        <pc:chgData name="Maram Al Badawi" userId="2b54086a-6fac-4fe1-b3bd-49b6f6c04f47" providerId="ADAL" clId="{FB1C1305-3597-4E5C-B0C1-0D032F64CE30}" dt="2025-05-20T05:05:40.422" v="65" actId="20577"/>
        <pc:sldMkLst>
          <pc:docMk/>
          <pc:sldMk cId="2205968895" sldId="2147481241"/>
        </pc:sldMkLst>
      </pc:sldChg>
    </pc:docChg>
  </pc:docChgLst>
  <pc:docChgLst>
    <pc:chgData name="Nabeel Dastgir" userId="8b997b98-987f-43a6-83c6-096155f157e5" providerId="ADAL" clId="{2B93E3B1-B8EB-4D3B-97BE-57C3C5EFA699}"/>
    <pc:docChg chg="undo custSel modSld">
      <pc:chgData name="Nabeel Dastgir" userId="8b997b98-987f-43a6-83c6-096155f157e5" providerId="ADAL" clId="{2B93E3B1-B8EB-4D3B-97BE-57C3C5EFA699}" dt="2025-03-12T06:55:15.274" v="661"/>
      <pc:docMkLst>
        <pc:docMk/>
      </pc:docMkLst>
    </pc:docChg>
  </pc:docChgLst>
  <pc:docChgLst>
    <pc:chgData name="Nabeel Dastgir" userId="8b997b98-987f-43a6-83c6-096155f157e5" providerId="ADAL" clId="{52F1B0F1-F420-4DDB-B667-07F3E7C88EA1}"/>
    <pc:docChg chg="custSel modSld">
      <pc:chgData name="Nabeel Dastgir" userId="8b997b98-987f-43a6-83c6-096155f157e5" providerId="ADAL" clId="{52F1B0F1-F420-4DDB-B667-07F3E7C88EA1}" dt="2025-03-12T07:01:44.477" v="254"/>
      <pc:docMkLst>
        <pc:docMk/>
      </pc:docMkLst>
    </pc:docChg>
  </pc:docChgLst>
  <pc:docChgLst>
    <pc:chgData name="Nabeel Dastgir" userId="8b997b98-987f-43a6-83c6-096155f157e5" providerId="ADAL" clId="{5608225B-EB88-4C7A-AB83-1F310FC5A3DB}"/>
    <pc:docChg chg="undo custSel modSld modMainMaster">
      <pc:chgData name="Nabeel Dastgir" userId="8b997b98-987f-43a6-83c6-096155f157e5" providerId="ADAL" clId="{5608225B-EB88-4C7A-AB83-1F310FC5A3DB}" dt="2025-03-12T07:38:11.614" v="942"/>
      <pc:docMkLst>
        <pc:docMk/>
      </pc:docMkLst>
      <pc:sldChg chg="addSp delSp modSp mod">
        <pc:chgData name="Nabeel Dastgir" userId="8b997b98-987f-43a6-83c6-096155f157e5" providerId="ADAL" clId="{5608225B-EB88-4C7A-AB83-1F310FC5A3DB}" dt="2025-03-12T07:37:24.872" v="688"/>
        <pc:sldMkLst>
          <pc:docMk/>
          <pc:sldMk cId="2281522627" sldId="2147481236"/>
        </pc:sldMkLst>
      </pc:sldChg>
      <pc:sldMasterChg chg="modSldLayout">
        <pc:chgData name="Nabeel Dastgir" userId="8b997b98-987f-43a6-83c6-096155f157e5" providerId="ADAL" clId="{5608225B-EB88-4C7A-AB83-1F310FC5A3DB}" dt="2025-03-12T07:36:07.725" v="508"/>
        <pc:sldMasterMkLst>
          <pc:docMk/>
          <pc:sldMasterMk cId="1472398901" sldId="2147483660"/>
        </pc:sldMasterMkLst>
        <pc:sldLayoutChg chg="addSp delSp modSp mod">
          <pc:chgData name="Nabeel Dastgir" userId="8b997b98-987f-43a6-83c6-096155f157e5" providerId="ADAL" clId="{5608225B-EB88-4C7A-AB83-1F310FC5A3DB}" dt="2025-03-12T07:36:07.725" v="508"/>
          <pc:sldLayoutMkLst>
            <pc:docMk/>
            <pc:sldMasterMk cId="1472398901" sldId="2147483660"/>
            <pc:sldLayoutMk cId="191041612" sldId="2147483707"/>
          </pc:sldLayoutMkLst>
          <pc:graphicFrameChg chg="mod">
            <ac:chgData name="Nabeel Dastgir" userId="8b997b98-987f-43a6-83c6-096155f157e5" providerId="ADAL" clId="{5608225B-EB88-4C7A-AB83-1F310FC5A3DB}" dt="2025-03-12T07:36:07.725" v="508"/>
            <ac:graphicFrameMkLst>
              <pc:docMk/>
              <pc:sldMasterMk cId="1472398901" sldId="2147483660"/>
              <pc:sldLayoutMk cId="191041612" sldId="2147483707"/>
              <ac:graphicFrameMk id="3" creationId="{EB40400E-0CC2-7538-B899-F34BFCD14262}"/>
            </ac:graphicFrameMkLst>
          </pc:graphicFrameChg>
        </pc:sldLayoutChg>
      </pc:sldMasterChg>
    </pc:docChg>
  </pc:docChgLst>
  <pc:docChgLst>
    <pc:chgData name="Tadesse Kebede" userId="S::ne012150@transco.ae::2e8f947e-bf74-4ecf-9a4c-1e221f2ab290" providerId="AD" clId="Web-{CA55F377-2A6B-AE5E-D3B3-AA81693BEE5F}"/>
    <pc:docChg chg="modSld">
      <pc:chgData name="Tadesse Kebede" userId="S::ne012150@transco.ae::2e8f947e-bf74-4ecf-9a4c-1e221f2ab290" providerId="AD" clId="Web-{CA55F377-2A6B-AE5E-D3B3-AA81693BEE5F}" dt="2025-03-06T08:22:30.810" v="1" actId="20577"/>
      <pc:docMkLst>
        <pc:docMk/>
      </pc:docMkLst>
    </pc:docChg>
  </pc:docChgLst>
  <pc:docChgLst>
    <pc:chgData name="Nikhil Kumar Laxmi Chandra Jha" userId="S::ne015239@transco.ae::ddde9457-c3ef-4fd2-8a2a-a71426930753" providerId="AD" clId="Web-{A84D14A3-2C23-D3B4-EBD1-8E1839444E46}"/>
    <pc:docChg chg="modSld">
      <pc:chgData name="Nikhil Kumar Laxmi Chandra Jha" userId="S::ne015239@transco.ae::ddde9457-c3ef-4fd2-8a2a-a71426930753" providerId="AD" clId="Web-{A84D14A3-2C23-D3B4-EBD1-8E1839444E46}" dt="2025-05-16T08:19:48.602" v="9" actId="20577"/>
      <pc:docMkLst>
        <pc:docMk/>
      </pc:docMkLst>
      <pc:sldChg chg="modSp">
        <pc:chgData name="Nikhil Kumar Laxmi Chandra Jha" userId="S::ne015239@transco.ae::ddde9457-c3ef-4fd2-8a2a-a71426930753" providerId="AD" clId="Web-{A84D14A3-2C23-D3B4-EBD1-8E1839444E46}" dt="2025-05-16T08:19:48.602" v="9" actId="20577"/>
        <pc:sldMkLst>
          <pc:docMk/>
          <pc:sldMk cId="3440684613" sldId="2147376831"/>
        </pc:sldMkLst>
        <pc:spChg chg="mod">
          <ac:chgData name="Nikhil Kumar Laxmi Chandra Jha" userId="S::ne015239@transco.ae::ddde9457-c3ef-4fd2-8a2a-a71426930753" providerId="AD" clId="Web-{A84D14A3-2C23-D3B4-EBD1-8E1839444E46}" dt="2025-05-16T08:19:48.602" v="9" actId="20577"/>
          <ac:spMkLst>
            <pc:docMk/>
            <pc:sldMk cId="3440684613" sldId="2147376831"/>
            <ac:spMk id="5" creationId="{97F46F66-3558-3216-CC82-56F6D3F6E8C2}"/>
          </ac:spMkLst>
        </pc:spChg>
      </pc:sldChg>
    </pc:docChg>
  </pc:docChgLst>
  <pc:docChgLst>
    <pc:chgData name="Nandakumar Kannembath" userId="S::ne015040@transco.ae::8a72941b-2b6b-4fb9-831f-415d8fce83e5" providerId="AD" clId="Web-{7338A3C6-79D0-5AE8-E0E8-124AFA3240F3}"/>
    <pc:docChg chg="modSld">
      <pc:chgData name="Nandakumar Kannembath" userId="S::ne015040@transco.ae::8a72941b-2b6b-4fb9-831f-415d8fce83e5" providerId="AD" clId="Web-{7338A3C6-79D0-5AE8-E0E8-124AFA3240F3}" dt="2025-03-17T10:48:00.362" v="1479"/>
      <pc:docMkLst>
        <pc:docMk/>
      </pc:docMkLst>
      <pc:sldChg chg="addSp delSp modSp">
        <pc:chgData name="Nandakumar Kannembath" userId="S::ne015040@transco.ae::8a72941b-2b6b-4fb9-831f-415d8fce83e5" providerId="AD" clId="Web-{7338A3C6-79D0-5AE8-E0E8-124AFA3240F3}" dt="2025-03-17T10:48:00.362" v="1479"/>
        <pc:sldMkLst>
          <pc:docMk/>
          <pc:sldMk cId="374239166" sldId="272"/>
        </pc:sldMkLst>
        <pc:graphicFrameChg chg="mod modGraphic">
          <ac:chgData name="Nandakumar Kannembath" userId="S::ne015040@transco.ae::8a72941b-2b6b-4fb9-831f-415d8fce83e5" providerId="AD" clId="Web-{7338A3C6-79D0-5AE8-E0E8-124AFA3240F3}" dt="2025-03-17T10:48:00.362" v="1479"/>
          <ac:graphicFrameMkLst>
            <pc:docMk/>
            <pc:sldMk cId="374239166" sldId="272"/>
            <ac:graphicFrameMk id="11" creationId="{D2B3DED6-A302-2DF7-F1BE-7CA07A0A15C2}"/>
          </ac:graphicFrameMkLst>
        </pc:graphicFrameChg>
      </pc:sldChg>
      <pc:sldChg chg="modSp">
        <pc:chgData name="Nandakumar Kannembath" userId="S::ne015040@transco.ae::8a72941b-2b6b-4fb9-831f-415d8fce83e5" providerId="AD" clId="Web-{7338A3C6-79D0-5AE8-E0E8-124AFA3240F3}" dt="2025-03-17T10:01:14.422" v="1" actId="20577"/>
        <pc:sldMkLst>
          <pc:docMk/>
          <pc:sldMk cId="3440684613" sldId="2147376831"/>
        </pc:sldMkLst>
        <pc:spChg chg="mod">
          <ac:chgData name="Nandakumar Kannembath" userId="S::ne015040@transco.ae::8a72941b-2b6b-4fb9-831f-415d8fce83e5" providerId="AD" clId="Web-{7338A3C6-79D0-5AE8-E0E8-124AFA3240F3}" dt="2025-03-17T10:01:14.422" v="1" actId="20577"/>
          <ac:spMkLst>
            <pc:docMk/>
            <pc:sldMk cId="3440684613" sldId="2147376831"/>
            <ac:spMk id="5" creationId="{97F46F66-3558-3216-CC82-56F6D3F6E8C2}"/>
          </ac:spMkLst>
        </pc:spChg>
      </pc:sldChg>
      <pc:sldChg chg="modSp">
        <pc:chgData name="Nandakumar Kannembath" userId="S::ne015040@transco.ae::8a72941b-2b6b-4fb9-831f-415d8fce83e5" providerId="AD" clId="Web-{7338A3C6-79D0-5AE8-E0E8-124AFA3240F3}" dt="2025-03-17T10:27:08.653" v="1289"/>
        <pc:sldMkLst>
          <pc:docMk/>
          <pc:sldMk cId="4014685245" sldId="2147481231"/>
        </pc:sldMkLst>
        <pc:graphicFrameChg chg="mod modGraphic">
          <ac:chgData name="Nandakumar Kannembath" userId="S::ne015040@transco.ae::8a72941b-2b6b-4fb9-831f-415d8fce83e5" providerId="AD" clId="Web-{7338A3C6-79D0-5AE8-E0E8-124AFA3240F3}" dt="2025-03-17T10:27:08.653" v="1289"/>
          <ac:graphicFrameMkLst>
            <pc:docMk/>
            <pc:sldMk cId="4014685245" sldId="2147481231"/>
            <ac:graphicFrameMk id="5" creationId="{D3A71F0B-BE76-9F64-D314-DA16AEF390B3}"/>
          </ac:graphicFrameMkLst>
        </pc:graphicFrameChg>
        <pc:graphicFrameChg chg="mod modGraphic">
          <ac:chgData name="Nandakumar Kannembath" userId="S::ne015040@transco.ae::8a72941b-2b6b-4fb9-831f-415d8fce83e5" providerId="AD" clId="Web-{7338A3C6-79D0-5AE8-E0E8-124AFA3240F3}" dt="2025-03-17T10:13:53.029" v="1065"/>
          <ac:graphicFrameMkLst>
            <pc:docMk/>
            <pc:sldMk cId="4014685245" sldId="2147481231"/>
            <ac:graphicFrameMk id="7" creationId="{83BEFF3F-CFD4-BD64-296E-136E9DE32DB4}"/>
          </ac:graphicFrameMkLst>
        </pc:graphicFrameChg>
        <pc:graphicFrameChg chg="mod modGraphic">
          <ac:chgData name="Nandakumar Kannembath" userId="S::ne015040@transco.ae::8a72941b-2b6b-4fb9-831f-415d8fce83e5" providerId="AD" clId="Web-{7338A3C6-79D0-5AE8-E0E8-124AFA3240F3}" dt="2025-03-17T10:06:17.584" v="171"/>
          <ac:graphicFrameMkLst>
            <pc:docMk/>
            <pc:sldMk cId="4014685245" sldId="2147481231"/>
            <ac:graphicFrameMk id="8" creationId="{05550516-049F-AE40-7162-5F639A7E12F0}"/>
          </ac:graphicFrameMkLst>
        </pc:graphicFrameChg>
        <pc:graphicFrameChg chg="mod modGraphic">
          <ac:chgData name="Nandakumar Kannembath" userId="S::ne015040@transco.ae::8a72941b-2b6b-4fb9-831f-415d8fce83e5" providerId="AD" clId="Web-{7338A3C6-79D0-5AE8-E0E8-124AFA3240F3}" dt="2025-03-17T10:26:58.871" v="1287"/>
          <ac:graphicFrameMkLst>
            <pc:docMk/>
            <pc:sldMk cId="4014685245" sldId="2147481231"/>
            <ac:graphicFrameMk id="35" creationId="{4C2F6C1E-D402-AF3D-F70D-BA235E33D463}"/>
          </ac:graphicFrameMkLst>
        </pc:graphicFrameChg>
      </pc:sldChg>
      <pc:sldChg chg="modSp">
        <pc:chgData name="Nandakumar Kannembath" userId="S::ne015040@transco.ae::8a72941b-2b6b-4fb9-831f-415d8fce83e5" providerId="AD" clId="Web-{7338A3C6-79D0-5AE8-E0E8-124AFA3240F3}" dt="2025-03-17T10:46:55.096" v="1474"/>
        <pc:sldMkLst>
          <pc:docMk/>
          <pc:sldMk cId="1221362229" sldId="2147481232"/>
        </pc:sldMkLst>
        <pc:spChg chg="mod">
          <ac:chgData name="Nandakumar Kannembath" userId="S::ne015040@transco.ae::8a72941b-2b6b-4fb9-831f-415d8fce83e5" providerId="AD" clId="Web-{7338A3C6-79D0-5AE8-E0E8-124AFA3240F3}" dt="2025-03-17T10:18:56.832" v="1141" actId="20577"/>
          <ac:spMkLst>
            <pc:docMk/>
            <pc:sldMk cId="1221362229" sldId="2147481232"/>
            <ac:spMk id="9" creationId="{E07FB20F-B7EB-7F47-A2C4-823C70A22D71}"/>
          </ac:spMkLst>
        </pc:spChg>
        <pc:graphicFrameChg chg="mod modGraphic">
          <ac:chgData name="Nandakumar Kannembath" userId="S::ne015040@transco.ae::8a72941b-2b6b-4fb9-831f-415d8fce83e5" providerId="AD" clId="Web-{7338A3C6-79D0-5AE8-E0E8-124AFA3240F3}" dt="2025-03-17T10:46:55.096" v="1474"/>
          <ac:graphicFrameMkLst>
            <pc:docMk/>
            <pc:sldMk cId="1221362229" sldId="2147481232"/>
            <ac:graphicFrameMk id="2" creationId="{12BB7CC7-694F-AA0D-50D2-D7EA361BF462}"/>
          </ac:graphicFrameMkLst>
        </pc:graphicFrameChg>
      </pc:sldChg>
      <pc:sldChg chg="delSp modSp">
        <pc:chgData name="Nandakumar Kannembath" userId="S::ne015040@transco.ae::8a72941b-2b6b-4fb9-831f-415d8fce83e5" providerId="AD" clId="Web-{7338A3C6-79D0-5AE8-E0E8-124AFA3240F3}" dt="2025-03-17T10:04:02.206" v="21" actId="20577"/>
        <pc:sldMkLst>
          <pc:docMk/>
          <pc:sldMk cId="2205968895" sldId="2147481241"/>
        </pc:sldMkLst>
      </pc:sldChg>
    </pc:docChg>
  </pc:docChgLst>
  <pc:docChgLst>
    <pc:chgData name="Nikhil Kumar Laxmi Chandra Jha" userId="ddde9457-c3ef-4fd2-8a2a-a71426930753" providerId="ADAL" clId="{F06D54BB-CE1A-402C-89B8-5D890C29CCC6}"/>
    <pc:docChg chg="custSel modSld">
      <pc:chgData name="Nikhil Kumar Laxmi Chandra Jha" userId="ddde9457-c3ef-4fd2-8a2a-a71426930753" providerId="ADAL" clId="{F06D54BB-CE1A-402C-89B8-5D890C29CCC6}" dt="2025-05-16T08:38:43.999" v="209" actId="478"/>
      <pc:docMkLst>
        <pc:docMk/>
      </pc:docMkLst>
      <pc:sldChg chg="modSp mod">
        <pc:chgData name="Nikhil Kumar Laxmi Chandra Jha" userId="ddde9457-c3ef-4fd2-8a2a-a71426930753" providerId="ADAL" clId="{F06D54BB-CE1A-402C-89B8-5D890C29CCC6}" dt="2025-05-02T08:21:41.743" v="7" actId="20577"/>
        <pc:sldMkLst>
          <pc:docMk/>
          <pc:sldMk cId="3440684613" sldId="2147376831"/>
        </pc:sldMkLst>
        <pc:spChg chg="mod">
          <ac:chgData name="Nikhil Kumar Laxmi Chandra Jha" userId="ddde9457-c3ef-4fd2-8a2a-a71426930753" providerId="ADAL" clId="{F06D54BB-CE1A-402C-89B8-5D890C29CCC6}" dt="2025-05-02T08:21:41.743" v="7" actId="20577"/>
          <ac:spMkLst>
            <pc:docMk/>
            <pc:sldMk cId="3440684613" sldId="2147376831"/>
            <ac:spMk id="5" creationId="{97F46F66-3558-3216-CC82-56F6D3F6E8C2}"/>
          </ac:spMkLst>
        </pc:spChg>
      </pc:sldChg>
      <pc:sldChg chg="modSp mod">
        <pc:chgData name="Nikhil Kumar Laxmi Chandra Jha" userId="ddde9457-c3ef-4fd2-8a2a-a71426930753" providerId="ADAL" clId="{F06D54BB-CE1A-402C-89B8-5D890C29CCC6}" dt="2025-05-16T08:30:25.405" v="186" actId="20577"/>
        <pc:sldMkLst>
          <pc:docMk/>
          <pc:sldMk cId="4014685245" sldId="2147481231"/>
        </pc:sldMkLst>
        <pc:graphicFrameChg chg="mod modGraphic">
          <ac:chgData name="Nikhil Kumar Laxmi Chandra Jha" userId="ddde9457-c3ef-4fd2-8a2a-a71426930753" providerId="ADAL" clId="{F06D54BB-CE1A-402C-89B8-5D890C29CCC6}" dt="2025-05-16T08:28:53.544" v="176"/>
          <ac:graphicFrameMkLst>
            <pc:docMk/>
            <pc:sldMk cId="4014685245" sldId="2147481231"/>
            <ac:graphicFrameMk id="5" creationId="{D3A71F0B-BE76-9F64-D314-DA16AEF390B3}"/>
          </ac:graphicFrameMkLst>
        </pc:graphicFrameChg>
        <pc:graphicFrameChg chg="mod modGraphic">
          <ac:chgData name="Nikhil Kumar Laxmi Chandra Jha" userId="ddde9457-c3ef-4fd2-8a2a-a71426930753" providerId="ADAL" clId="{F06D54BB-CE1A-402C-89B8-5D890C29CCC6}" dt="2025-05-16T08:30:25.405" v="186" actId="20577"/>
          <ac:graphicFrameMkLst>
            <pc:docMk/>
            <pc:sldMk cId="4014685245" sldId="2147481231"/>
            <ac:graphicFrameMk id="7" creationId="{83BEFF3F-CFD4-BD64-296E-136E9DE32DB4}"/>
          </ac:graphicFrameMkLst>
        </pc:graphicFrameChg>
        <pc:graphicFrameChg chg="mod modGraphic">
          <ac:chgData name="Nikhil Kumar Laxmi Chandra Jha" userId="ddde9457-c3ef-4fd2-8a2a-a71426930753" providerId="ADAL" clId="{F06D54BB-CE1A-402C-89B8-5D890C29CCC6}" dt="2025-05-16T08:28:12.240" v="175" actId="20577"/>
          <ac:graphicFrameMkLst>
            <pc:docMk/>
            <pc:sldMk cId="4014685245" sldId="2147481231"/>
            <ac:graphicFrameMk id="8" creationId="{05550516-049F-AE40-7162-5F639A7E12F0}"/>
          </ac:graphicFrameMkLst>
        </pc:graphicFrameChg>
      </pc:sldChg>
      <pc:sldChg chg="modSp mod">
        <pc:chgData name="Nikhil Kumar Laxmi Chandra Jha" userId="ddde9457-c3ef-4fd2-8a2a-a71426930753" providerId="ADAL" clId="{F06D54BB-CE1A-402C-89B8-5D890C29CCC6}" dt="2025-05-16T08:35:23.995" v="194" actId="20577"/>
        <pc:sldMkLst>
          <pc:docMk/>
          <pc:sldMk cId="1221362229" sldId="2147481232"/>
        </pc:sldMkLst>
        <pc:graphicFrameChg chg="modGraphic">
          <ac:chgData name="Nikhil Kumar Laxmi Chandra Jha" userId="ddde9457-c3ef-4fd2-8a2a-a71426930753" providerId="ADAL" clId="{F06D54BB-CE1A-402C-89B8-5D890C29CCC6}" dt="2025-05-16T08:35:23.995" v="194" actId="20577"/>
          <ac:graphicFrameMkLst>
            <pc:docMk/>
            <pc:sldMk cId="1221362229" sldId="2147481232"/>
            <ac:graphicFrameMk id="2" creationId="{12BB7CC7-694F-AA0D-50D2-D7EA361BF462}"/>
          </ac:graphicFrameMkLst>
        </pc:graphicFrameChg>
      </pc:sldChg>
      <pc:sldChg chg="addSp delSp modSp mod">
        <pc:chgData name="Nikhil Kumar Laxmi Chandra Jha" userId="ddde9457-c3ef-4fd2-8a2a-a71426930753" providerId="ADAL" clId="{F06D54BB-CE1A-402C-89B8-5D890C29CCC6}" dt="2025-05-16T08:38:43.999" v="209" actId="478"/>
        <pc:sldMkLst>
          <pc:docMk/>
          <pc:sldMk cId="3714057606" sldId="2147481238"/>
        </pc:sldMkLst>
        <pc:picChg chg="add mod">
          <ac:chgData name="Nikhil Kumar Laxmi Chandra Jha" userId="ddde9457-c3ef-4fd2-8a2a-a71426930753" providerId="ADAL" clId="{F06D54BB-CE1A-402C-89B8-5D890C29CCC6}" dt="2025-05-16T08:37:55.888" v="204" actId="14100"/>
          <ac:picMkLst>
            <pc:docMk/>
            <pc:sldMk cId="3714057606" sldId="2147481238"/>
            <ac:picMk id="6" creationId="{D498B1E6-3D37-81AC-F07D-1F508725FF1E}"/>
          </ac:picMkLst>
        </pc:picChg>
        <pc:picChg chg="add mod">
          <ac:chgData name="Nikhil Kumar Laxmi Chandra Jha" userId="ddde9457-c3ef-4fd2-8a2a-a71426930753" providerId="ADAL" clId="{F06D54BB-CE1A-402C-89B8-5D890C29CCC6}" dt="2025-05-02T08:31:58.347" v="24" actId="14100"/>
          <ac:picMkLst>
            <pc:docMk/>
            <pc:sldMk cId="3714057606" sldId="2147481238"/>
            <ac:picMk id="10" creationId="{EF01B18E-775A-BEEB-BB5E-A0C83474850F}"/>
          </ac:picMkLst>
        </pc:picChg>
        <pc:picChg chg="add mod">
          <ac:chgData name="Nikhil Kumar Laxmi Chandra Jha" userId="ddde9457-c3ef-4fd2-8a2a-a71426930753" providerId="ADAL" clId="{F06D54BB-CE1A-402C-89B8-5D890C29CCC6}" dt="2025-05-16T08:38:37.308" v="208" actId="14100"/>
          <ac:picMkLst>
            <pc:docMk/>
            <pc:sldMk cId="3714057606" sldId="2147481238"/>
            <ac:picMk id="11" creationId="{4D7CD08E-200C-0512-4AB4-2049928D1782}"/>
          </ac:picMkLst>
        </pc:picChg>
      </pc:sldChg>
      <pc:sldChg chg="mod">
        <pc:chgData name="Nikhil Kumar Laxmi Chandra Jha" userId="ddde9457-c3ef-4fd2-8a2a-a71426930753" providerId="ADAL" clId="{F06D54BB-CE1A-402C-89B8-5D890C29CCC6}" dt="2025-05-16T08:37:02.028" v="198" actId="27918"/>
        <pc:sldMkLst>
          <pc:docMk/>
          <pc:sldMk cId="1431349737" sldId="2147481239"/>
        </pc:sldMkLst>
      </pc:sldChg>
      <pc:sldChg chg="addSp delSp modSp mod">
        <pc:chgData name="Nikhil Kumar Laxmi Chandra Jha" userId="ddde9457-c3ef-4fd2-8a2a-a71426930753" providerId="ADAL" clId="{F06D54BB-CE1A-402C-89B8-5D890C29CCC6}" dt="2025-05-02T08:34:09.202" v="97" actId="14100"/>
        <pc:sldMkLst>
          <pc:docMk/>
          <pc:sldMk cId="2790156800" sldId="2147481254"/>
        </pc:sldMkLst>
      </pc:sldChg>
    </pc:docChg>
  </pc:docChgLst>
  <pc:docChgLst>
    <pc:chgData name="Nandakumar Kannembath" userId="S::ne015040@transco.ae::8a72941b-2b6b-4fb9-831f-415d8fce83e5" providerId="AD" clId="Web-{21AD2C66-ACB8-9F7C-EA62-2B85FB6F42FE}"/>
    <pc:docChg chg="modSld">
      <pc:chgData name="Nandakumar Kannembath" userId="S::ne015040@transco.ae::8a72941b-2b6b-4fb9-831f-415d8fce83e5" providerId="AD" clId="Web-{21AD2C66-ACB8-9F7C-EA62-2B85FB6F42FE}" dt="2025-03-17T11:40:19.655" v="97"/>
      <pc:docMkLst>
        <pc:docMk/>
      </pc:docMkLst>
    </pc:docChg>
  </pc:docChgLst>
  <pc:docChgLst>
    <pc:chgData name="Nabeel Dastgir" userId="8b997b98-987f-43a6-83c6-096155f157e5" providerId="ADAL" clId="{3441366C-053B-4009-8AA5-DA7C6CD3B013}"/>
    <pc:docChg chg="custSel modSld">
      <pc:chgData name="Nabeel Dastgir" userId="8b997b98-987f-43a6-83c6-096155f157e5" providerId="ADAL" clId="{3441366C-053B-4009-8AA5-DA7C6CD3B013}" dt="2025-03-12T07:49:59.973" v="334"/>
      <pc:docMkLst>
        <pc:docMk/>
      </pc:docMkLst>
    </pc:docChg>
  </pc:docChgLst>
  <pc:docChgLst>
    <pc:chgData name="Nabeel Dastgir" userId="8b997b98-987f-43a6-83c6-096155f157e5" providerId="ADAL" clId="{B52D255D-5DD6-47DA-A999-76BFC13E4B47}"/>
    <pc:docChg chg="custSel modSld">
      <pc:chgData name="Nabeel Dastgir" userId="8b997b98-987f-43a6-83c6-096155f157e5" providerId="ADAL" clId="{B52D255D-5DD6-47DA-A999-76BFC13E4B47}" dt="2025-03-12T07:08:08.882" v="342"/>
      <pc:docMkLst>
        <pc:docMk/>
      </pc:docMkLst>
    </pc:docChg>
  </pc:docChgLst>
  <pc:docChgLst>
    <pc:chgData name="Nikhil Kumar Laxmi Chandra Jha" userId="S::ne015239@transco.ae::ddde9457-c3ef-4fd2-8a2a-a71426930753" providerId="AD" clId="Web-{EDADA144-A0D8-6151-FEF8-1008C29A5A17}"/>
    <pc:docChg chg="modSld">
      <pc:chgData name="Nikhil Kumar Laxmi Chandra Jha" userId="S::ne015239@transco.ae::ddde9457-c3ef-4fd2-8a2a-a71426930753" providerId="AD" clId="Web-{EDADA144-A0D8-6151-FEF8-1008C29A5A17}" dt="2025-05-20T07:20:17.825" v="5"/>
      <pc:docMkLst>
        <pc:docMk/>
      </pc:docMkLst>
      <pc:sldChg chg="modSp">
        <pc:chgData name="Nikhil Kumar Laxmi Chandra Jha" userId="S::ne015239@transco.ae::ddde9457-c3ef-4fd2-8a2a-a71426930753" providerId="AD" clId="Web-{EDADA144-A0D8-6151-FEF8-1008C29A5A17}" dt="2025-05-20T07:20:17.825" v="5"/>
        <pc:sldMkLst>
          <pc:docMk/>
          <pc:sldMk cId="1221362229" sldId="2147481232"/>
        </pc:sldMkLst>
        <pc:graphicFrameChg chg="mod modGraphic">
          <ac:chgData name="Nikhil Kumar Laxmi Chandra Jha" userId="S::ne015239@transco.ae::ddde9457-c3ef-4fd2-8a2a-a71426930753" providerId="AD" clId="Web-{EDADA144-A0D8-6151-FEF8-1008C29A5A17}" dt="2025-05-20T07:20:17.825" v="5"/>
          <ac:graphicFrameMkLst>
            <pc:docMk/>
            <pc:sldMk cId="1221362229" sldId="2147481232"/>
            <ac:graphicFrameMk id="2" creationId="{12BB7CC7-694F-AA0D-50D2-D7EA361BF462}"/>
          </ac:graphicFrameMkLst>
        </pc:graphicFrameChg>
      </pc:sldChg>
    </pc:docChg>
  </pc:docChgLst>
  <pc:docChgLst>
    <pc:chgData name="Nikhil Kumar Laxmi Chandra Jha" userId="S::ne015239@transco.ae::ddde9457-c3ef-4fd2-8a2a-a71426930753" providerId="AD" clId="Web-{7999651E-6EB8-D216-1B9E-DE63C520E005}"/>
    <pc:docChg chg="modSld">
      <pc:chgData name="Nikhil Kumar Laxmi Chandra Jha" userId="S::ne015239@transco.ae::ddde9457-c3ef-4fd2-8a2a-a71426930753" providerId="AD" clId="Web-{7999651E-6EB8-D216-1B9E-DE63C520E005}" dt="2025-04-15T06:39:58.621" v="11" actId="20577"/>
      <pc:docMkLst>
        <pc:docMk/>
      </pc:docMkLst>
      <pc:sldChg chg="modSp">
        <pc:chgData name="Nikhil Kumar Laxmi Chandra Jha" userId="S::ne015239@transco.ae::ddde9457-c3ef-4fd2-8a2a-a71426930753" providerId="AD" clId="Web-{7999651E-6EB8-D216-1B9E-DE63C520E005}" dt="2025-04-15T06:39:58.621" v="11" actId="20577"/>
        <pc:sldMkLst>
          <pc:docMk/>
          <pc:sldMk cId="3440684613" sldId="2147376831"/>
        </pc:sldMkLst>
        <pc:spChg chg="mod">
          <ac:chgData name="Nikhil Kumar Laxmi Chandra Jha" userId="S::ne015239@transco.ae::ddde9457-c3ef-4fd2-8a2a-a71426930753" providerId="AD" clId="Web-{7999651E-6EB8-D216-1B9E-DE63C520E005}" dt="2025-04-15T06:39:58.621" v="11" actId="20577"/>
          <ac:spMkLst>
            <pc:docMk/>
            <pc:sldMk cId="3440684613" sldId="2147376831"/>
            <ac:spMk id="5" creationId="{97F46F66-3558-3216-CC82-56F6D3F6E8C2}"/>
          </ac:spMkLst>
        </pc:spChg>
      </pc:sldChg>
    </pc:docChg>
  </pc:docChgLst>
  <pc:docChgLst>
    <pc:chgData name="Nandakumar Kannembath" userId="8a72941b-2b6b-4fb9-831f-415d8fce83e5" providerId="ADAL" clId="{9C472EBD-B5ED-46DD-B8A3-F8241C1B6DD9}"/>
    <pc:docChg chg="undo custSel modSld">
      <pc:chgData name="Nandakumar Kannembath" userId="8a72941b-2b6b-4fb9-831f-415d8fce83e5" providerId="ADAL" clId="{9C472EBD-B5ED-46DD-B8A3-F8241C1B6DD9}" dt="2025-03-17T11:48:43.792" v="500" actId="27918"/>
      <pc:docMkLst>
        <pc:docMk/>
      </pc:docMkLst>
      <pc:sldChg chg="mod">
        <pc:chgData name="Nandakumar Kannembath" userId="8a72941b-2b6b-4fb9-831f-415d8fce83e5" providerId="ADAL" clId="{9C472EBD-B5ED-46DD-B8A3-F8241C1B6DD9}" dt="2025-03-17T11:01:27.130" v="87" actId="27918"/>
        <pc:sldMkLst>
          <pc:docMk/>
          <pc:sldMk cId="1431349737" sldId="2147481239"/>
        </pc:sldMkLst>
      </pc:sldChg>
      <pc:sldChg chg="mod">
        <pc:chgData name="Nandakumar Kannembath" userId="8a72941b-2b6b-4fb9-831f-415d8fce83e5" providerId="ADAL" clId="{9C472EBD-B5ED-46DD-B8A3-F8241C1B6DD9}" dt="2025-03-17T11:48:43.792" v="500" actId="27918"/>
        <pc:sldMkLst>
          <pc:docMk/>
          <pc:sldMk cId="3299405138" sldId="2147481253"/>
        </pc:sldMkLst>
      </pc:sldChg>
    </pc:docChg>
  </pc:docChgLst>
  <pc:docChgLst>
    <pc:chgData name="Nabeel Dastgir" userId="8b997b98-987f-43a6-83c6-096155f157e5" providerId="ADAL" clId="{13EC9CA5-FDAE-41D5-B7A8-58328B8105EE}"/>
    <pc:docChg chg="custSel modSld">
      <pc:chgData name="Nabeel Dastgir" userId="8b997b98-987f-43a6-83c6-096155f157e5" providerId="ADAL" clId="{13EC9CA5-FDAE-41D5-B7A8-58328B8105EE}" dt="2025-03-12T07:48:44.182" v="379"/>
      <pc:docMkLst>
        <pc:docMk/>
      </pc:docMkLst>
    </pc:docChg>
  </pc:docChgLst>
  <pc:docChgLst>
    <pc:chgData name="Husnain Ali" userId="S::husnain.ali@digifloat.com::2502f0f4-e1d9-4b51-9632-c038384256f5" providerId="AD" clId="Web-{4331D826-15AC-0AE9-5FA4-C7C4BD4D07A9}"/>
    <pc:docChg chg="modSld">
      <pc:chgData name="Husnain Ali" userId="S::husnain.ali@digifloat.com::2502f0f4-e1d9-4b51-9632-c038384256f5" providerId="AD" clId="Web-{4331D826-15AC-0AE9-5FA4-C7C4BD4D07A9}" dt="2025-05-30T11:29:27.479" v="11"/>
      <pc:docMkLst>
        <pc:docMk/>
      </pc:docMkLst>
      <pc:sldChg chg="modSp">
        <pc:chgData name="Husnain Ali" userId="S::husnain.ali@digifloat.com::2502f0f4-e1d9-4b51-9632-c038384256f5" providerId="AD" clId="Web-{4331D826-15AC-0AE9-5FA4-C7C4BD4D07A9}" dt="2025-05-30T11:29:27.479" v="11"/>
        <pc:sldMkLst>
          <pc:docMk/>
          <pc:sldMk cId="4014685245" sldId="2147481231"/>
        </pc:sldMkLst>
        <pc:graphicFrameChg chg="mod modGraphic">
          <ac:chgData name="Husnain Ali" userId="S::husnain.ali@digifloat.com::2502f0f4-e1d9-4b51-9632-c038384256f5" providerId="AD" clId="Web-{4331D826-15AC-0AE9-5FA4-C7C4BD4D07A9}" dt="2025-05-30T11:29:27.479" v="11"/>
          <ac:graphicFrameMkLst>
            <pc:docMk/>
            <pc:sldMk cId="4014685245" sldId="2147481231"/>
            <ac:graphicFrameMk id="8" creationId="{05550516-049F-AE40-7162-5F639A7E12F0}"/>
          </ac:graphicFrameMkLst>
        </pc:graphicFrameChg>
      </pc:sldChg>
      <pc:sldChg chg="modSp">
        <pc:chgData name="Husnain Ali" userId="S::husnain.ali@digifloat.com::2502f0f4-e1d9-4b51-9632-c038384256f5" providerId="AD" clId="Web-{4331D826-15AC-0AE9-5FA4-C7C4BD4D07A9}" dt="2025-05-30T11:29:21.245" v="10"/>
        <pc:sldMkLst>
          <pc:docMk/>
          <pc:sldMk cId="1221362229" sldId="2147481232"/>
        </pc:sldMkLst>
        <pc:spChg chg="mod">
          <ac:chgData name="Husnain Ali" userId="S::husnain.ali@digifloat.com::2502f0f4-e1d9-4b51-9632-c038384256f5" providerId="AD" clId="Web-{4331D826-15AC-0AE9-5FA4-C7C4BD4D07A9}" dt="2025-05-30T11:16:38.593" v="8" actId="1076"/>
          <ac:spMkLst>
            <pc:docMk/>
            <pc:sldMk cId="1221362229" sldId="2147481232"/>
            <ac:spMk id="9" creationId="{E07FB20F-B7EB-7F47-A2C4-823C70A22D71}"/>
          </ac:spMkLst>
        </pc:spChg>
        <pc:graphicFrameChg chg="modGraphic">
          <ac:chgData name="Husnain Ali" userId="S::husnain.ali@digifloat.com::2502f0f4-e1d9-4b51-9632-c038384256f5" providerId="AD" clId="Web-{4331D826-15AC-0AE9-5FA4-C7C4BD4D07A9}" dt="2025-05-30T11:29:21.245" v="10"/>
          <ac:graphicFrameMkLst>
            <pc:docMk/>
            <pc:sldMk cId="1221362229" sldId="2147481232"/>
            <ac:graphicFrameMk id="2" creationId="{12BB7CC7-694F-AA0D-50D2-D7EA361BF462}"/>
          </ac:graphicFrameMkLst>
        </pc:graphicFrameChg>
      </pc:sldChg>
    </pc:docChg>
  </pc:docChgLst>
  <pc:docChgLst>
    <pc:chgData name="Abdulfatah AlHajeri" userId="41dd5540-2d94-4da4-aa20-9d0c4554f9d9" providerId="ADAL" clId="{A20A1C62-1617-4599-8FAF-6DC3367F0B57}"/>
    <pc:docChg chg="delSld delMainMaster">
      <pc:chgData name="Abdulfatah AlHajeri" userId="41dd5540-2d94-4da4-aa20-9d0c4554f9d9" providerId="ADAL" clId="{A20A1C62-1617-4599-8FAF-6DC3367F0B57}" dt="2025-05-24T11:24:27.823" v="7" actId="47"/>
      <pc:docMkLst>
        <pc:docMk/>
      </pc:docMkLst>
      <pc:sldChg chg="del">
        <pc:chgData name="Abdulfatah AlHajeri" userId="41dd5540-2d94-4da4-aa20-9d0c4554f9d9" providerId="ADAL" clId="{A20A1C62-1617-4599-8FAF-6DC3367F0B57}" dt="2025-05-24T11:24:22.188" v="5" actId="47"/>
        <pc:sldMkLst>
          <pc:docMk/>
          <pc:sldMk cId="374239166" sldId="272"/>
        </pc:sldMkLst>
      </pc:sldChg>
      <pc:sldChg chg="del">
        <pc:chgData name="Abdulfatah AlHajeri" userId="41dd5540-2d94-4da4-aa20-9d0c4554f9d9" providerId="ADAL" clId="{A20A1C62-1617-4599-8FAF-6DC3367F0B57}" dt="2025-05-24T11:24:15.092" v="1" actId="47"/>
        <pc:sldMkLst>
          <pc:docMk/>
          <pc:sldMk cId="3291509091" sldId="327"/>
        </pc:sldMkLst>
      </pc:sldChg>
      <pc:sldChg chg="del">
        <pc:chgData name="Abdulfatah AlHajeri" userId="41dd5540-2d94-4da4-aa20-9d0c4554f9d9" providerId="ADAL" clId="{A20A1C62-1617-4599-8FAF-6DC3367F0B57}" dt="2025-05-24T11:24:23.917" v="6" actId="47"/>
        <pc:sldMkLst>
          <pc:docMk/>
          <pc:sldMk cId="3118403372" sldId="2147480444"/>
        </pc:sldMkLst>
      </pc:sldChg>
      <pc:sldChg chg="del">
        <pc:chgData name="Abdulfatah AlHajeri" userId="41dd5540-2d94-4da4-aa20-9d0c4554f9d9" providerId="ADAL" clId="{A20A1C62-1617-4599-8FAF-6DC3367F0B57}" dt="2025-05-24T11:24:16.065" v="2" actId="47"/>
        <pc:sldMkLst>
          <pc:docMk/>
          <pc:sldMk cId="3714057606" sldId="2147481238"/>
        </pc:sldMkLst>
      </pc:sldChg>
      <pc:sldChg chg="del">
        <pc:chgData name="Abdulfatah AlHajeri" userId="41dd5540-2d94-4da4-aa20-9d0c4554f9d9" providerId="ADAL" clId="{A20A1C62-1617-4599-8FAF-6DC3367F0B57}" dt="2025-05-24T11:24:16.976" v="3" actId="47"/>
        <pc:sldMkLst>
          <pc:docMk/>
          <pc:sldMk cId="1431349737" sldId="2147481239"/>
        </pc:sldMkLst>
      </pc:sldChg>
      <pc:sldChg chg="del">
        <pc:chgData name="Abdulfatah AlHajeri" userId="41dd5540-2d94-4da4-aa20-9d0c4554f9d9" providerId="ADAL" clId="{A20A1C62-1617-4599-8FAF-6DC3367F0B57}" dt="2025-05-24T11:24:27.823" v="7" actId="47"/>
        <pc:sldMkLst>
          <pc:docMk/>
          <pc:sldMk cId="2078787974" sldId="2147481240"/>
        </pc:sldMkLst>
      </pc:sldChg>
      <pc:sldChg chg="del">
        <pc:chgData name="Abdulfatah AlHajeri" userId="41dd5540-2d94-4da4-aa20-9d0c4554f9d9" providerId="ADAL" clId="{A20A1C62-1617-4599-8FAF-6DC3367F0B57}" dt="2025-05-24T11:23:53.593" v="0" actId="47"/>
        <pc:sldMkLst>
          <pc:docMk/>
          <pc:sldMk cId="2205968895" sldId="2147481241"/>
        </pc:sldMkLst>
      </pc:sldChg>
      <pc:sldChg chg="del">
        <pc:chgData name="Abdulfatah AlHajeri" userId="41dd5540-2d94-4da4-aa20-9d0c4554f9d9" providerId="ADAL" clId="{A20A1C62-1617-4599-8FAF-6DC3367F0B57}" dt="2025-05-24T11:24:18" v="4" actId="47"/>
        <pc:sldMkLst>
          <pc:docMk/>
          <pc:sldMk cId="2185637154" sldId="2147481254"/>
        </pc:sldMkLst>
      </pc:sldChg>
      <pc:sldMasterChg chg="delSldLayout">
        <pc:chgData name="Abdulfatah AlHajeri" userId="41dd5540-2d94-4da4-aa20-9d0c4554f9d9" providerId="ADAL" clId="{A20A1C62-1617-4599-8FAF-6DC3367F0B57}" dt="2025-05-24T11:24:15.092" v="1" actId="47"/>
        <pc:sldMasterMkLst>
          <pc:docMk/>
          <pc:sldMasterMk cId="1472398901" sldId="2147483660"/>
        </pc:sldMasterMkLst>
        <pc:sldLayoutChg chg="del">
          <pc:chgData name="Abdulfatah AlHajeri" userId="41dd5540-2d94-4da4-aa20-9d0c4554f9d9" providerId="ADAL" clId="{A20A1C62-1617-4599-8FAF-6DC3367F0B57}" dt="2025-05-24T11:24:15.092" v="1" actId="47"/>
          <pc:sldLayoutMkLst>
            <pc:docMk/>
            <pc:sldMasterMk cId="1472398901" sldId="2147483660"/>
            <pc:sldLayoutMk cId="869611924" sldId="2147483671"/>
          </pc:sldLayoutMkLst>
        </pc:sldLayoutChg>
      </pc:sldMasterChg>
      <pc:sldMasterChg chg="del delSldLayout">
        <pc:chgData name="Abdulfatah AlHajeri" userId="41dd5540-2d94-4da4-aa20-9d0c4554f9d9" providerId="ADAL" clId="{A20A1C62-1617-4599-8FAF-6DC3367F0B57}" dt="2025-05-24T11:24:23.917" v="6" actId="47"/>
        <pc:sldMasterMkLst>
          <pc:docMk/>
          <pc:sldMasterMk cId="3829810441" sldId="2147483708"/>
        </pc:sldMasterMkLst>
        <pc:sldLayoutChg chg="del">
          <pc:chgData name="Abdulfatah AlHajeri" userId="41dd5540-2d94-4da4-aa20-9d0c4554f9d9" providerId="ADAL" clId="{A20A1C62-1617-4599-8FAF-6DC3367F0B57}" dt="2025-05-24T11:24:23.917" v="6" actId="47"/>
          <pc:sldLayoutMkLst>
            <pc:docMk/>
            <pc:sldMasterMk cId="3829810441" sldId="2147483708"/>
            <pc:sldLayoutMk cId="2711610106" sldId="2147483709"/>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1954974949" sldId="2147483710"/>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719218390" sldId="2147483711"/>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400117695" sldId="2147483712"/>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176654139" sldId="2147483713"/>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833886029" sldId="2147483714"/>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139724712" sldId="2147483715"/>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858273792" sldId="2147483716"/>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365775428" sldId="2147483717"/>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4094846874" sldId="2147483718"/>
          </pc:sldLayoutMkLst>
        </pc:sldLayoutChg>
      </pc:sldMasterChg>
    </pc:docChg>
  </pc:docChgLst>
  <pc:docChgLst>
    <pc:chgData name="Nabeel Dastgir" userId="8b997b98-987f-43a6-83c6-096155f157e5" providerId="ADAL" clId="{7CA20035-3298-40F1-9EA6-D5A7297E8594}"/>
    <pc:docChg chg="custSel modSld">
      <pc:chgData name="Nabeel Dastgir" userId="8b997b98-987f-43a6-83c6-096155f157e5" providerId="ADAL" clId="{7CA20035-3298-40F1-9EA6-D5A7297E8594}" dt="2025-03-12T07:03:33.740" v="445"/>
      <pc:docMkLst>
        <pc:docMk/>
      </pc:docMkLst>
      <pc:sldChg chg="addSp delSp modSp mod">
        <pc:chgData name="Nabeel Dastgir" userId="8b997b98-987f-43a6-83c6-096155f157e5" providerId="ADAL" clId="{7CA20035-3298-40F1-9EA6-D5A7297E8594}" dt="2025-03-12T07:03:19.880" v="351"/>
        <pc:sldMkLst>
          <pc:docMk/>
          <pc:sldMk cId="374239166" sldId="272"/>
        </pc:sldMkLst>
        <pc:graphicFrameChg chg="mod">
          <ac:chgData name="Nabeel Dastgir" userId="8b997b98-987f-43a6-83c6-096155f157e5" providerId="ADAL" clId="{7CA20035-3298-40F1-9EA6-D5A7297E8594}" dt="2025-03-12T07:03:19.880" v="351"/>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7CA20035-3298-40F1-9EA6-D5A7297E8594}" dt="2025-03-12T07:02:36.299" v="111"/>
        <pc:sldMkLst>
          <pc:docMk/>
          <pc:sldMk cId="3440684613" sldId="2147376831"/>
        </pc:sldMkLst>
        <pc:spChg chg="mod">
          <ac:chgData name="Nabeel Dastgir" userId="8b997b98-987f-43a6-83c6-096155f157e5" providerId="ADAL" clId="{7CA20035-3298-40F1-9EA6-D5A7297E8594}" dt="2025-03-12T07:02:36.275" v="86" actId="948"/>
          <ac:spMkLst>
            <pc:docMk/>
            <pc:sldMk cId="3440684613" sldId="2147376831"/>
            <ac:spMk id="4" creationId="{FF10E8DA-4CAF-F96C-6E64-A81849CD287F}"/>
          </ac:spMkLst>
        </pc:spChg>
        <pc:graphicFrameChg chg="mod">
          <ac:chgData name="Nabeel Dastgir" userId="8b997b98-987f-43a6-83c6-096155f157e5" providerId="ADAL" clId="{7CA20035-3298-40F1-9EA6-D5A7297E8594}" dt="2025-03-12T07:02:36.299" v="111"/>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7CA20035-3298-40F1-9EA6-D5A7297E8594}" dt="2025-03-12T07:03:02.813" v="298"/>
        <pc:sldMkLst>
          <pc:docMk/>
          <pc:sldMk cId="4014685245" sldId="2147481231"/>
        </pc:sldMkLst>
        <pc:graphicFrameChg chg="mod">
          <ac:chgData name="Nabeel Dastgir" userId="8b997b98-987f-43a6-83c6-096155f157e5" providerId="ADAL" clId="{7CA20035-3298-40F1-9EA6-D5A7297E8594}" dt="2025-03-12T07:03:02.813" v="298"/>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7CA20035-3298-40F1-9EA6-D5A7297E8594}" dt="2025-03-12T07:03:10.620" v="324"/>
        <pc:sldMkLst>
          <pc:docMk/>
          <pc:sldMk cId="1221362229" sldId="2147481232"/>
        </pc:sldMkLst>
        <pc:graphicFrameChg chg="mod">
          <ac:chgData name="Nabeel Dastgir" userId="8b997b98-987f-43a6-83c6-096155f157e5" providerId="ADAL" clId="{7CA20035-3298-40F1-9EA6-D5A7297E8594}" dt="2025-03-12T07:03:10.620" v="324"/>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7CA20035-3298-40F1-9EA6-D5A7297E8594}" dt="2025-03-12T07:03:15.094" v="325"/>
        <pc:sldMkLst>
          <pc:docMk/>
          <pc:sldMk cId="2281522627" sldId="2147481236"/>
        </pc:sldMkLst>
      </pc:sldChg>
      <pc:sldChg chg="addSp delSp modSp mod">
        <pc:chgData name="Nabeel Dastgir" userId="8b997b98-987f-43a6-83c6-096155f157e5" providerId="ADAL" clId="{7CA20035-3298-40F1-9EA6-D5A7297E8594}" dt="2025-03-12T07:03:33.740" v="445"/>
        <pc:sldMkLst>
          <pc:docMk/>
          <pc:sldMk cId="3714057606" sldId="2147481238"/>
        </pc:sldMkLst>
        <pc:graphicFrameChg chg="mod">
          <ac:chgData name="Nabeel Dastgir" userId="8b997b98-987f-43a6-83c6-096155f157e5" providerId="ADAL" clId="{7CA20035-3298-40F1-9EA6-D5A7297E8594}" dt="2025-03-12T07:03:33.740" v="445"/>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7CA20035-3298-40F1-9EA6-D5A7297E8594}" dt="2025-03-12T07:03:29.505" v="419"/>
        <pc:sldMkLst>
          <pc:docMk/>
          <pc:sldMk cId="1431349737" sldId="2147481239"/>
        </pc:sldMkLst>
        <pc:graphicFrameChg chg="mod">
          <ac:chgData name="Nabeel Dastgir" userId="8b997b98-987f-43a6-83c6-096155f157e5" providerId="ADAL" clId="{7CA20035-3298-40F1-9EA6-D5A7297E8594}" dt="2025-03-12T07:03:29.505" v="419"/>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7CA20035-3298-40F1-9EA6-D5A7297E8594}" dt="2025-03-12T07:02:45.967" v="167"/>
        <pc:sldMkLst>
          <pc:docMk/>
          <pc:sldMk cId="2205968895" sldId="2147481241"/>
        </pc:sldMkLst>
      </pc:sldChg>
      <pc:sldChg chg="addSp delSp modSp mod">
        <pc:chgData name="Nabeel Dastgir" userId="8b997b98-987f-43a6-83c6-096155f157e5" providerId="ADAL" clId="{7CA20035-3298-40F1-9EA6-D5A7297E8594}" dt="2025-03-12T07:03:25.809" v="393"/>
        <pc:sldMkLst>
          <pc:docMk/>
          <pc:sldMk cId="3299405138" sldId="2147481253"/>
        </pc:sldMkLst>
      </pc:sldChg>
    </pc:docChg>
  </pc:docChgLst>
  <pc:docChgLst>
    <pc:chgData name="Ajmeer Sherif Mohamed Kasim" userId="b0135b53-65c9-4763-8bfe-9cdb965640ba" providerId="ADAL" clId="{4C36FB82-90BD-421A-92CC-529C6459A323}"/>
    <pc:docChg chg="undo custSel addSld delSld modSld modMainMaster">
      <pc:chgData name="Ajmeer Sherif Mohamed Kasim" userId="b0135b53-65c9-4763-8bfe-9cdb965640ba" providerId="ADAL" clId="{4C36FB82-90BD-421A-92CC-529C6459A323}" dt="2025-05-20T05:55:10.356" v="1908" actId="108"/>
      <pc:docMkLst>
        <pc:docMk/>
      </pc:docMkLst>
      <pc:sldChg chg="modSp mod">
        <pc:chgData name="Ajmeer Sherif Mohamed Kasim" userId="b0135b53-65c9-4763-8bfe-9cdb965640ba" providerId="ADAL" clId="{4C36FB82-90BD-421A-92CC-529C6459A323}" dt="2025-05-19T11:12:57.065" v="1405" actId="113"/>
        <pc:sldMkLst>
          <pc:docMk/>
          <pc:sldMk cId="374239166" sldId="272"/>
        </pc:sldMkLst>
        <pc:graphicFrameChg chg="modGraphic">
          <ac:chgData name="Ajmeer Sherif Mohamed Kasim" userId="b0135b53-65c9-4763-8bfe-9cdb965640ba" providerId="ADAL" clId="{4C36FB82-90BD-421A-92CC-529C6459A323}" dt="2025-05-19T11:12:57.065" v="1405" actId="113"/>
          <ac:graphicFrameMkLst>
            <pc:docMk/>
            <pc:sldMk cId="374239166" sldId="272"/>
            <ac:graphicFrameMk id="11" creationId="{D2B3DED6-A302-2DF7-F1BE-7CA07A0A15C2}"/>
          </ac:graphicFrameMkLst>
        </pc:graphicFrameChg>
      </pc:sldChg>
      <pc:sldChg chg="addSp delSp modSp add mod">
        <pc:chgData name="Ajmeer Sherif Mohamed Kasim" userId="b0135b53-65c9-4763-8bfe-9cdb965640ba" providerId="ADAL" clId="{4C36FB82-90BD-421A-92CC-529C6459A323}" dt="2025-05-20T05:55:10.356" v="1908" actId="108"/>
        <pc:sldMkLst>
          <pc:docMk/>
          <pc:sldMk cId="3118403372" sldId="2147480444"/>
        </pc:sldMkLst>
        <pc:spChg chg="add mod ord">
          <ac:chgData name="Ajmeer Sherif Mohamed Kasim" userId="b0135b53-65c9-4763-8bfe-9cdb965640ba" providerId="ADAL" clId="{4C36FB82-90BD-421A-92CC-529C6459A323}" dt="2025-05-14T07:00:50.045" v="1219"/>
          <ac:spMkLst>
            <pc:docMk/>
            <pc:sldMk cId="3118403372" sldId="2147480444"/>
            <ac:spMk id="3" creationId="{C8ECED9C-3081-0A2B-D683-C948A6E3EBE5}"/>
          </ac:spMkLst>
        </pc:spChg>
        <pc:spChg chg="mod ord">
          <ac:chgData name="Ajmeer Sherif Mohamed Kasim" userId="b0135b53-65c9-4763-8bfe-9cdb965640ba" providerId="ADAL" clId="{4C36FB82-90BD-421A-92CC-529C6459A323}" dt="2025-05-14T07:00:50.046" v="1222"/>
          <ac:spMkLst>
            <pc:docMk/>
            <pc:sldMk cId="3118403372" sldId="2147480444"/>
            <ac:spMk id="4" creationId="{50DF9F9E-088E-74F9-5777-9961FF6F590E}"/>
          </ac:spMkLst>
        </pc:spChg>
        <pc:spChg chg="mod">
          <ac:chgData name="Ajmeer Sherif Mohamed Kasim" userId="b0135b53-65c9-4763-8bfe-9cdb965640ba" providerId="ADAL" clId="{4C36FB82-90BD-421A-92CC-529C6459A323}" dt="2025-05-20T05:37:59.652" v="1638"/>
          <ac:spMkLst>
            <pc:docMk/>
            <pc:sldMk cId="3118403372" sldId="2147480444"/>
            <ac:spMk id="5" creationId="{B43FCFDE-018C-E3CE-52A5-8CAAA367BE4E}"/>
          </ac:spMkLst>
        </pc:spChg>
        <pc:spChg chg="mod ord">
          <ac:chgData name="Ajmeer Sherif Mohamed Kasim" userId="b0135b53-65c9-4763-8bfe-9cdb965640ba" providerId="ADAL" clId="{4C36FB82-90BD-421A-92CC-529C6459A323}" dt="2025-05-20T05:37:55.433" v="1624" actId="20577"/>
          <ac:spMkLst>
            <pc:docMk/>
            <pc:sldMk cId="3118403372" sldId="2147480444"/>
            <ac:spMk id="13" creationId="{0EAD4CAE-B0A8-5334-8016-1B3A05BC106D}"/>
          </ac:spMkLst>
        </pc:spChg>
        <pc:spChg chg="mod ord">
          <ac:chgData name="Ajmeer Sherif Mohamed Kasim" userId="b0135b53-65c9-4763-8bfe-9cdb965640ba" providerId="ADAL" clId="{4C36FB82-90BD-421A-92CC-529C6459A323}" dt="2025-05-20T05:37:59.791" v="1800" actId="948"/>
          <ac:spMkLst>
            <pc:docMk/>
            <pc:sldMk cId="3118403372" sldId="2147480444"/>
            <ac:spMk id="17" creationId="{FCB13E6F-11F6-AB44-8761-391EBA0220FF}"/>
          </ac:spMkLst>
        </pc:spChg>
        <pc:spChg chg="mod ord">
          <ac:chgData name="Ajmeer Sherif Mohamed Kasim" userId="b0135b53-65c9-4763-8bfe-9cdb965640ba" providerId="ADAL" clId="{4C36FB82-90BD-421A-92CC-529C6459A323}" dt="2025-05-20T05:37:59.786" v="1794" actId="948"/>
          <ac:spMkLst>
            <pc:docMk/>
            <pc:sldMk cId="3118403372" sldId="2147480444"/>
            <ac:spMk id="18" creationId="{D89761E1-992A-CE42-9BCB-F91107B83488}"/>
          </ac:spMkLst>
        </pc:spChg>
        <pc:spChg chg="mod ord">
          <ac:chgData name="Ajmeer Sherif Mohamed Kasim" userId="b0135b53-65c9-4763-8bfe-9cdb965640ba" providerId="ADAL" clId="{4C36FB82-90BD-421A-92CC-529C6459A323}" dt="2025-05-20T05:37:59.794" v="1803" actId="948"/>
          <ac:spMkLst>
            <pc:docMk/>
            <pc:sldMk cId="3118403372" sldId="2147480444"/>
            <ac:spMk id="19" creationId="{0A137CE9-5B15-D337-2615-52EF2B6ABA21}"/>
          </ac:spMkLst>
        </pc:spChg>
        <pc:spChg chg="mod ord">
          <ac:chgData name="Ajmeer Sherif Mohamed Kasim" userId="b0135b53-65c9-4763-8bfe-9cdb965640ba" providerId="ADAL" clId="{4C36FB82-90BD-421A-92CC-529C6459A323}" dt="2025-05-20T05:37:59.789" v="1797" actId="948"/>
          <ac:spMkLst>
            <pc:docMk/>
            <pc:sldMk cId="3118403372" sldId="2147480444"/>
            <ac:spMk id="20" creationId="{3BDE4788-5DF1-2731-749C-1F3304784D53}"/>
          </ac:spMkLst>
        </pc:spChg>
        <pc:spChg chg="mod">
          <ac:chgData name="Ajmeer Sherif Mohamed Kasim" userId="b0135b53-65c9-4763-8bfe-9cdb965640ba" providerId="ADAL" clId="{4C36FB82-90BD-421A-92CC-529C6459A323}" dt="2025-05-14T07:00:44.004" v="1161"/>
          <ac:spMkLst>
            <pc:docMk/>
            <pc:sldMk cId="3118403372" sldId="2147480444"/>
            <ac:spMk id="23" creationId="{8248211A-DC6A-4F4A-B286-616B7055A942}"/>
          </ac:spMkLst>
        </pc:spChg>
        <pc:spChg chg="mod">
          <ac:chgData name="Ajmeer Sherif Mohamed Kasim" userId="b0135b53-65c9-4763-8bfe-9cdb965640ba" providerId="ADAL" clId="{4C36FB82-90BD-421A-92CC-529C6459A323}" dt="2025-05-14T07:00:44.003" v="1158"/>
          <ac:spMkLst>
            <pc:docMk/>
            <pc:sldMk cId="3118403372" sldId="2147480444"/>
            <ac:spMk id="24" creationId="{F6291285-5133-45BB-E78E-B38D0090A0B2}"/>
          </ac:spMkLst>
        </pc:spChg>
        <pc:spChg chg="mod">
          <ac:chgData name="Ajmeer Sherif Mohamed Kasim" userId="b0135b53-65c9-4763-8bfe-9cdb965640ba" providerId="ADAL" clId="{4C36FB82-90BD-421A-92CC-529C6459A323}" dt="2025-05-14T07:00:44.002" v="1155"/>
          <ac:spMkLst>
            <pc:docMk/>
            <pc:sldMk cId="3118403372" sldId="2147480444"/>
            <ac:spMk id="25" creationId="{39FB83F2-AAA3-5151-1423-1C5F3A5FACA2}"/>
          </ac:spMkLst>
        </pc:spChg>
        <pc:spChg chg="mod">
          <ac:chgData name="Ajmeer Sherif Mohamed Kasim" userId="b0135b53-65c9-4763-8bfe-9cdb965640ba" providerId="ADAL" clId="{4C36FB82-90BD-421A-92CC-529C6459A323}" dt="2025-05-14T07:00:44.001" v="1150"/>
          <ac:spMkLst>
            <pc:docMk/>
            <pc:sldMk cId="3118403372" sldId="2147480444"/>
            <ac:spMk id="26" creationId="{C014DCCF-1B87-4802-E900-C199E23588B0}"/>
          </ac:spMkLst>
        </pc:spChg>
        <pc:spChg chg="mod ord">
          <ac:chgData name="Ajmeer Sherif Mohamed Kasim" userId="b0135b53-65c9-4763-8bfe-9cdb965640ba" providerId="ADAL" clId="{4C36FB82-90BD-421A-92CC-529C6459A323}" dt="2025-05-20T05:37:59.772" v="1778" actId="948"/>
          <ac:spMkLst>
            <pc:docMk/>
            <pc:sldMk cId="3118403372" sldId="2147480444"/>
            <ac:spMk id="27" creationId="{EFD69554-4C82-5670-B8BC-D2B15AEA8205}"/>
          </ac:spMkLst>
        </pc:spChg>
        <pc:spChg chg="mod ord">
          <ac:chgData name="Ajmeer Sherif Mohamed Kasim" userId="b0135b53-65c9-4763-8bfe-9cdb965640ba" providerId="ADAL" clId="{4C36FB82-90BD-421A-92CC-529C6459A323}" dt="2025-05-14T07:00:50.050" v="1238"/>
          <ac:spMkLst>
            <pc:docMk/>
            <pc:sldMk cId="3118403372" sldId="2147480444"/>
            <ac:spMk id="29" creationId="{DB4DD71F-3E4C-4E9E-CD05-1D137F8A12C8}"/>
          </ac:spMkLst>
        </pc:spChg>
        <pc:spChg chg="mod ord">
          <ac:chgData name="Ajmeer Sherif Mohamed Kasim" userId="b0135b53-65c9-4763-8bfe-9cdb965640ba" providerId="ADAL" clId="{4C36FB82-90BD-421A-92CC-529C6459A323}" dt="2025-05-14T07:00:50.046" v="1224"/>
          <ac:spMkLst>
            <pc:docMk/>
            <pc:sldMk cId="3118403372" sldId="2147480444"/>
            <ac:spMk id="30" creationId="{21C6672B-03A9-B400-9730-AC1EA987FBBD}"/>
          </ac:spMkLst>
        </pc:spChg>
        <pc:spChg chg="mod">
          <ac:chgData name="Ajmeer Sherif Mohamed Kasim" userId="b0135b53-65c9-4763-8bfe-9cdb965640ba" providerId="ADAL" clId="{4C36FB82-90BD-421A-92CC-529C6459A323}" dt="2025-05-20T05:37:59.649" v="1635"/>
          <ac:spMkLst>
            <pc:docMk/>
            <pc:sldMk cId="3118403372" sldId="2147480444"/>
            <ac:spMk id="31" creationId="{F5118BAC-330F-BC41-925E-9E32CD5F66DF}"/>
          </ac:spMkLst>
        </pc:spChg>
        <pc:spChg chg="mod">
          <ac:chgData name="Ajmeer Sherif Mohamed Kasim" userId="b0135b53-65c9-4763-8bfe-9cdb965640ba" providerId="ADAL" clId="{4C36FB82-90BD-421A-92CC-529C6459A323}" dt="2025-05-20T05:37:59.650" v="1636"/>
          <ac:spMkLst>
            <pc:docMk/>
            <pc:sldMk cId="3118403372" sldId="2147480444"/>
            <ac:spMk id="33" creationId="{F5118BAC-330F-BC41-925E-9E32CD5F66DF}"/>
          </ac:spMkLst>
        </pc:spChg>
        <pc:spChg chg="mod">
          <ac:chgData name="Ajmeer Sherif Mohamed Kasim" userId="b0135b53-65c9-4763-8bfe-9cdb965640ba" providerId="ADAL" clId="{4C36FB82-90BD-421A-92CC-529C6459A323}" dt="2025-05-20T05:37:59.652" v="1637"/>
          <ac:spMkLst>
            <pc:docMk/>
            <pc:sldMk cId="3118403372" sldId="2147480444"/>
            <ac:spMk id="34" creationId="{F5118BAC-330F-BC41-925E-9E32CD5F66DF}"/>
          </ac:spMkLst>
        </pc:spChg>
        <pc:spChg chg="mod ord">
          <ac:chgData name="Ajmeer Sherif Mohamed Kasim" userId="b0135b53-65c9-4763-8bfe-9cdb965640ba" providerId="ADAL" clId="{4C36FB82-90BD-421A-92CC-529C6459A323}" dt="2025-05-20T05:37:59.653" v="1639" actId="948"/>
          <ac:spMkLst>
            <pc:docMk/>
            <pc:sldMk cId="3118403372" sldId="2147480444"/>
            <ac:spMk id="35" creationId="{CE86083C-11E6-0AEE-83E9-4ACECD2E38A0}"/>
          </ac:spMkLst>
        </pc:spChg>
        <pc:spChg chg="mod ord">
          <ac:chgData name="Ajmeer Sherif Mohamed Kasim" userId="b0135b53-65c9-4763-8bfe-9cdb965640ba" providerId="ADAL" clId="{4C36FB82-90BD-421A-92CC-529C6459A323}" dt="2025-05-14T07:00:50.046" v="1223"/>
          <ac:spMkLst>
            <pc:docMk/>
            <pc:sldMk cId="3118403372" sldId="2147480444"/>
            <ac:spMk id="36" creationId="{8D9E553B-4F3D-1694-791F-DA4A0449F01A}"/>
          </ac:spMkLst>
        </pc:spChg>
        <pc:spChg chg="mod ord">
          <ac:chgData name="Ajmeer Sherif Mohamed Kasim" userId="b0135b53-65c9-4763-8bfe-9cdb965640ba" providerId="ADAL" clId="{4C36FB82-90BD-421A-92CC-529C6459A323}" dt="2025-05-20T05:37:59.667" v="1659" actId="948"/>
          <ac:spMkLst>
            <pc:docMk/>
            <pc:sldMk cId="3118403372" sldId="2147480444"/>
            <ac:spMk id="37" creationId="{6DAA9576-691D-C98B-0632-0D21ED74F20C}"/>
          </ac:spMkLst>
        </pc:spChg>
        <pc:spChg chg="mod ord">
          <ac:chgData name="Ajmeer Sherif Mohamed Kasim" userId="b0135b53-65c9-4763-8bfe-9cdb965640ba" providerId="ADAL" clId="{4C36FB82-90BD-421A-92CC-529C6459A323}" dt="2025-05-20T05:37:59.726" v="1728" actId="948"/>
          <ac:spMkLst>
            <pc:docMk/>
            <pc:sldMk cId="3118403372" sldId="2147480444"/>
            <ac:spMk id="40" creationId="{BC894736-AF87-DBCB-AF58-36A08C4E9D49}"/>
          </ac:spMkLst>
        </pc:spChg>
        <pc:spChg chg="mod ord">
          <ac:chgData name="Ajmeer Sherif Mohamed Kasim" userId="b0135b53-65c9-4763-8bfe-9cdb965640ba" providerId="ADAL" clId="{4C36FB82-90BD-421A-92CC-529C6459A323}" dt="2025-05-20T05:55:10.356" v="1908" actId="108"/>
          <ac:spMkLst>
            <pc:docMk/>
            <pc:sldMk cId="3118403372" sldId="2147480444"/>
            <ac:spMk id="41" creationId="{0A593F29-764C-6274-517D-AB5B0ECAEB88}"/>
          </ac:spMkLst>
        </pc:spChg>
        <pc:spChg chg="mod ord">
          <ac:chgData name="Ajmeer Sherif Mohamed Kasim" userId="b0135b53-65c9-4763-8bfe-9cdb965640ba" providerId="ADAL" clId="{4C36FB82-90BD-421A-92CC-529C6459A323}" dt="2025-05-20T05:37:59.729" v="1731" actId="948"/>
          <ac:spMkLst>
            <pc:docMk/>
            <pc:sldMk cId="3118403372" sldId="2147480444"/>
            <ac:spMk id="42" creationId="{C90F0CD3-B2A8-25C1-1F00-9E41552B6EEF}"/>
          </ac:spMkLst>
        </pc:spChg>
        <pc:spChg chg="mod ord">
          <ac:chgData name="Ajmeer Sherif Mohamed Kasim" userId="b0135b53-65c9-4763-8bfe-9cdb965640ba" providerId="ADAL" clId="{4C36FB82-90BD-421A-92CC-529C6459A323}" dt="2025-05-20T05:37:59.732" v="1734" actId="948"/>
          <ac:spMkLst>
            <pc:docMk/>
            <pc:sldMk cId="3118403372" sldId="2147480444"/>
            <ac:spMk id="43" creationId="{79C0AFEB-B34F-867D-F6D6-D2CBDB276C7B}"/>
          </ac:spMkLst>
        </pc:spChg>
        <pc:spChg chg="mod ord">
          <ac:chgData name="Ajmeer Sherif Mohamed Kasim" userId="b0135b53-65c9-4763-8bfe-9cdb965640ba" providerId="ADAL" clId="{4C36FB82-90BD-421A-92CC-529C6459A323}" dt="2025-05-20T05:37:59.734" v="1737" actId="948"/>
          <ac:spMkLst>
            <pc:docMk/>
            <pc:sldMk cId="3118403372" sldId="2147480444"/>
            <ac:spMk id="44" creationId="{82EB3D6E-442A-455C-8806-3AD1ED3EDFEE}"/>
          </ac:spMkLst>
        </pc:spChg>
        <pc:spChg chg="mod ord">
          <ac:chgData name="Ajmeer Sherif Mohamed Kasim" userId="b0135b53-65c9-4763-8bfe-9cdb965640ba" providerId="ADAL" clId="{4C36FB82-90BD-421A-92CC-529C6459A323}" dt="2025-05-20T05:37:59.737" v="1740" actId="948"/>
          <ac:spMkLst>
            <pc:docMk/>
            <pc:sldMk cId="3118403372" sldId="2147480444"/>
            <ac:spMk id="45" creationId="{56C3D549-9077-2EB8-BBDC-B13046DBA766}"/>
          </ac:spMkLst>
        </pc:spChg>
        <pc:spChg chg="mod ord">
          <ac:chgData name="Ajmeer Sherif Mohamed Kasim" userId="b0135b53-65c9-4763-8bfe-9cdb965640ba" providerId="ADAL" clId="{4C36FB82-90BD-421A-92CC-529C6459A323}" dt="2025-05-20T05:37:59.740" v="1743" actId="948"/>
          <ac:spMkLst>
            <pc:docMk/>
            <pc:sldMk cId="3118403372" sldId="2147480444"/>
            <ac:spMk id="46" creationId="{0A6EB79F-31F0-F1A5-253F-91966B6E6743}"/>
          </ac:spMkLst>
        </pc:spChg>
        <pc:spChg chg="mod ord">
          <ac:chgData name="Ajmeer Sherif Mohamed Kasim" userId="b0135b53-65c9-4763-8bfe-9cdb965640ba" providerId="ADAL" clId="{4C36FB82-90BD-421A-92CC-529C6459A323}" dt="2025-05-20T05:37:59.753" v="1757" actId="948"/>
          <ac:spMkLst>
            <pc:docMk/>
            <pc:sldMk cId="3118403372" sldId="2147480444"/>
            <ac:spMk id="50" creationId="{EEC88046-AA86-E435-7C96-5E3C3C73FBE4}"/>
          </ac:spMkLst>
        </pc:spChg>
        <pc:spChg chg="mod ord">
          <ac:chgData name="Ajmeer Sherif Mohamed Kasim" userId="b0135b53-65c9-4763-8bfe-9cdb965640ba" providerId="ADAL" clId="{4C36FB82-90BD-421A-92CC-529C6459A323}" dt="2025-05-20T05:37:59.764" v="1768" actId="948"/>
          <ac:spMkLst>
            <pc:docMk/>
            <pc:sldMk cId="3118403372" sldId="2147480444"/>
            <ac:spMk id="54" creationId="{F5118BAC-330F-BC41-925E-9E32CD5F66DF}"/>
          </ac:spMkLst>
        </pc:spChg>
        <pc:spChg chg="mod">
          <ac:chgData name="Ajmeer Sherif Mohamed Kasim" userId="b0135b53-65c9-4763-8bfe-9cdb965640ba" providerId="ADAL" clId="{4C36FB82-90BD-421A-92CC-529C6459A323}" dt="2025-05-14T07:00:44.004" v="1159"/>
          <ac:spMkLst>
            <pc:docMk/>
            <pc:sldMk cId="3118403372" sldId="2147480444"/>
            <ac:spMk id="56" creationId="{08A10137-9193-3344-A02A-17D1665E8156}"/>
          </ac:spMkLst>
        </pc:spChg>
        <pc:spChg chg="mod ord">
          <ac:chgData name="Ajmeer Sherif Mohamed Kasim" userId="b0135b53-65c9-4763-8bfe-9cdb965640ba" providerId="ADAL" clId="{4C36FB82-90BD-421A-92CC-529C6459A323}" dt="2025-05-20T05:37:59.769" v="1775" actId="948"/>
          <ac:spMkLst>
            <pc:docMk/>
            <pc:sldMk cId="3118403372" sldId="2147480444"/>
            <ac:spMk id="58" creationId="{F5118BAC-330F-BC41-925E-9E32CD5F66DF}"/>
          </ac:spMkLst>
        </pc:spChg>
        <pc:spChg chg="mod">
          <ac:chgData name="Ajmeer Sherif Mohamed Kasim" userId="b0135b53-65c9-4763-8bfe-9cdb965640ba" providerId="ADAL" clId="{4C36FB82-90BD-421A-92CC-529C6459A323}" dt="2025-05-14T07:00:44.004" v="1160"/>
          <ac:spMkLst>
            <pc:docMk/>
            <pc:sldMk cId="3118403372" sldId="2147480444"/>
            <ac:spMk id="60" creationId="{D8E4A2A9-5B7C-B8EC-CBC4-1E34EF9BB473}"/>
          </ac:spMkLst>
        </pc:spChg>
        <pc:spChg chg="mod ord">
          <ac:chgData name="Ajmeer Sherif Mohamed Kasim" userId="b0135b53-65c9-4763-8bfe-9cdb965640ba" providerId="ADAL" clId="{4C36FB82-90BD-421A-92CC-529C6459A323}" dt="2025-05-20T05:37:59.677" v="1671" actId="948"/>
          <ac:spMkLst>
            <pc:docMk/>
            <pc:sldMk cId="3118403372" sldId="2147480444"/>
            <ac:spMk id="63" creationId="{F5118BAC-330F-BC41-925E-9E32CD5F66DF}"/>
          </ac:spMkLst>
        </pc:spChg>
        <pc:spChg chg="mod ord">
          <ac:chgData name="Ajmeer Sherif Mohamed Kasim" userId="b0135b53-65c9-4763-8bfe-9cdb965640ba" providerId="ADAL" clId="{4C36FB82-90BD-421A-92CC-529C6459A323}" dt="2025-05-20T05:37:59.680" v="1674" actId="948"/>
          <ac:spMkLst>
            <pc:docMk/>
            <pc:sldMk cId="3118403372" sldId="2147480444"/>
            <ac:spMk id="64" creationId="{6184F487-FE2B-D4C8-9A42-E7002A362104}"/>
          </ac:spMkLst>
        </pc:spChg>
        <pc:spChg chg="mod ord">
          <ac:chgData name="Ajmeer Sherif Mohamed Kasim" userId="b0135b53-65c9-4763-8bfe-9cdb965640ba" providerId="ADAL" clId="{4C36FB82-90BD-421A-92CC-529C6459A323}" dt="2025-05-20T05:37:59.683" v="1677" actId="948"/>
          <ac:spMkLst>
            <pc:docMk/>
            <pc:sldMk cId="3118403372" sldId="2147480444"/>
            <ac:spMk id="65" creationId="{1919E81A-1EEC-1C3C-FB27-E4AAFA34AA6D}"/>
          </ac:spMkLst>
        </pc:spChg>
        <pc:spChg chg="mod">
          <ac:chgData name="Ajmeer Sherif Mohamed Kasim" userId="b0135b53-65c9-4763-8bfe-9cdb965640ba" providerId="ADAL" clId="{4C36FB82-90BD-421A-92CC-529C6459A323}" dt="2025-05-20T05:37:59.804" v="1815"/>
          <ac:spMkLst>
            <pc:docMk/>
            <pc:sldMk cId="3118403372" sldId="2147480444"/>
            <ac:spMk id="66" creationId="{F5118BAC-330F-BC41-925E-9E32CD5F66DF}"/>
          </ac:spMkLst>
        </pc:spChg>
        <pc:spChg chg="mod ord">
          <ac:chgData name="Ajmeer Sherif Mohamed Kasim" userId="b0135b53-65c9-4763-8bfe-9cdb965640ba" providerId="ADAL" clId="{4C36FB82-90BD-421A-92CC-529C6459A323}" dt="2025-05-20T05:37:59.802" v="1809"/>
          <ac:spMkLst>
            <pc:docMk/>
            <pc:sldMk cId="3118403372" sldId="2147480444"/>
            <ac:spMk id="67" creationId="{B4D07D70-B18B-F674-8616-893636D7206A}"/>
          </ac:spMkLst>
        </pc:spChg>
        <pc:spChg chg="mod ord">
          <ac:chgData name="Ajmeer Sherif Mohamed Kasim" userId="b0135b53-65c9-4763-8bfe-9cdb965640ba" providerId="ADAL" clId="{4C36FB82-90BD-421A-92CC-529C6459A323}" dt="2025-05-20T05:37:59.743" v="1746" actId="948"/>
          <ac:spMkLst>
            <pc:docMk/>
            <pc:sldMk cId="3118403372" sldId="2147480444"/>
            <ac:spMk id="92" creationId="{F5118BAC-330F-BC41-925E-9E32CD5F66DF}"/>
          </ac:spMkLst>
        </pc:spChg>
        <pc:spChg chg="mod ord">
          <ac:chgData name="Ajmeer Sherif Mohamed Kasim" userId="b0135b53-65c9-4763-8bfe-9cdb965640ba" providerId="ADAL" clId="{4C36FB82-90BD-421A-92CC-529C6459A323}" dt="2025-05-20T05:37:59.685" v="1680" actId="948"/>
          <ac:spMkLst>
            <pc:docMk/>
            <pc:sldMk cId="3118403372" sldId="2147480444"/>
            <ac:spMk id="94" creationId="{DDD0913B-0EAC-A542-07C2-0D6662D45F2B}"/>
          </ac:spMkLst>
        </pc:spChg>
        <pc:spChg chg="mod ord">
          <ac:chgData name="Ajmeer Sherif Mohamed Kasim" userId="b0135b53-65c9-4763-8bfe-9cdb965640ba" providerId="ADAL" clId="{4C36FB82-90BD-421A-92CC-529C6459A323}" dt="2025-05-20T05:37:59.688" v="1683" actId="948"/>
          <ac:spMkLst>
            <pc:docMk/>
            <pc:sldMk cId="3118403372" sldId="2147480444"/>
            <ac:spMk id="96" creationId="{0F177AD9-E83A-AD2D-63F5-65705C12D2AE}"/>
          </ac:spMkLst>
        </pc:spChg>
        <pc:spChg chg="mod ord">
          <ac:chgData name="Ajmeer Sherif Mohamed Kasim" userId="b0135b53-65c9-4763-8bfe-9cdb965640ba" providerId="ADAL" clId="{4C36FB82-90BD-421A-92CC-529C6459A323}" dt="2025-05-20T05:37:59.690" v="1686" actId="948"/>
          <ac:spMkLst>
            <pc:docMk/>
            <pc:sldMk cId="3118403372" sldId="2147480444"/>
            <ac:spMk id="97" creationId="{BC08C038-AB25-22EA-A820-8050078BF8DB}"/>
          </ac:spMkLst>
        </pc:spChg>
        <pc:spChg chg="mod ord">
          <ac:chgData name="Ajmeer Sherif Mohamed Kasim" userId="b0135b53-65c9-4763-8bfe-9cdb965640ba" providerId="ADAL" clId="{4C36FB82-90BD-421A-92CC-529C6459A323}" dt="2025-05-20T05:37:59.693" v="1689" actId="948"/>
          <ac:spMkLst>
            <pc:docMk/>
            <pc:sldMk cId="3118403372" sldId="2147480444"/>
            <ac:spMk id="98" creationId="{0F974AC5-0088-1FE6-4C6A-C017B7DA276F}"/>
          </ac:spMkLst>
        </pc:spChg>
        <pc:spChg chg="mod ord">
          <ac:chgData name="Ajmeer Sherif Mohamed Kasim" userId="b0135b53-65c9-4763-8bfe-9cdb965640ba" providerId="ADAL" clId="{4C36FB82-90BD-421A-92CC-529C6459A323}" dt="2025-05-20T05:37:59.695" v="1692" actId="948"/>
          <ac:spMkLst>
            <pc:docMk/>
            <pc:sldMk cId="3118403372" sldId="2147480444"/>
            <ac:spMk id="99" creationId="{7580BDEA-EE56-F736-48FC-0AB2C82B0D6E}"/>
          </ac:spMkLst>
        </pc:spChg>
        <pc:spChg chg="mod ord">
          <ac:chgData name="Ajmeer Sherif Mohamed Kasim" userId="b0135b53-65c9-4763-8bfe-9cdb965640ba" providerId="ADAL" clId="{4C36FB82-90BD-421A-92CC-529C6459A323}" dt="2025-05-20T05:37:59.698" v="1695" actId="948"/>
          <ac:spMkLst>
            <pc:docMk/>
            <pc:sldMk cId="3118403372" sldId="2147480444"/>
            <ac:spMk id="100" creationId="{CDF476B8-37B6-E98B-EB86-1A3DC6046430}"/>
          </ac:spMkLst>
        </pc:spChg>
        <pc:spChg chg="mod ord">
          <ac:chgData name="Ajmeer Sherif Mohamed Kasim" userId="b0135b53-65c9-4763-8bfe-9cdb965640ba" providerId="ADAL" clId="{4C36FB82-90BD-421A-92CC-529C6459A323}" dt="2025-05-20T05:37:59.750" v="1754" actId="948"/>
          <ac:spMkLst>
            <pc:docMk/>
            <pc:sldMk cId="3118403372" sldId="2147480444"/>
            <ac:spMk id="101" creationId="{A1523B0F-7289-84B8-98FF-17AA2865656B}"/>
          </ac:spMkLst>
        </pc:spChg>
        <pc:spChg chg="mod ord">
          <ac:chgData name="Ajmeer Sherif Mohamed Kasim" userId="b0135b53-65c9-4763-8bfe-9cdb965640ba" providerId="ADAL" clId="{4C36FB82-90BD-421A-92CC-529C6459A323}" dt="2025-05-20T05:37:59.701" v="1698" actId="948"/>
          <ac:spMkLst>
            <pc:docMk/>
            <pc:sldMk cId="3118403372" sldId="2147480444"/>
            <ac:spMk id="134" creationId="{C0785C32-72E3-6798-B867-F0067B1547AA}"/>
          </ac:spMkLst>
        </pc:spChg>
        <pc:spChg chg="mod ord">
          <ac:chgData name="Ajmeer Sherif Mohamed Kasim" userId="b0135b53-65c9-4763-8bfe-9cdb965640ba" providerId="ADAL" clId="{4C36FB82-90BD-421A-92CC-529C6459A323}" dt="2025-05-20T05:37:59.703" v="1701" actId="948"/>
          <ac:spMkLst>
            <pc:docMk/>
            <pc:sldMk cId="3118403372" sldId="2147480444"/>
            <ac:spMk id="136" creationId="{3B847CCD-84A4-DF7C-3EF9-C9BBDD14F9CC}"/>
          </ac:spMkLst>
        </pc:spChg>
        <pc:spChg chg="mod ord">
          <ac:chgData name="Ajmeer Sherif Mohamed Kasim" userId="b0135b53-65c9-4763-8bfe-9cdb965640ba" providerId="ADAL" clId="{4C36FB82-90BD-421A-92CC-529C6459A323}" dt="2025-05-20T05:37:59.706" v="1704" actId="948"/>
          <ac:spMkLst>
            <pc:docMk/>
            <pc:sldMk cId="3118403372" sldId="2147480444"/>
            <ac:spMk id="137" creationId="{8FA32A54-585E-B8D6-6068-E2826CC38291}"/>
          </ac:spMkLst>
        </pc:spChg>
        <pc:spChg chg="mod ord">
          <ac:chgData name="Ajmeer Sherif Mohamed Kasim" userId="b0135b53-65c9-4763-8bfe-9cdb965640ba" providerId="ADAL" clId="{4C36FB82-90BD-421A-92CC-529C6459A323}" dt="2025-05-20T05:37:59.708" v="1707" actId="948"/>
          <ac:spMkLst>
            <pc:docMk/>
            <pc:sldMk cId="3118403372" sldId="2147480444"/>
            <ac:spMk id="138" creationId="{A217DFC7-564C-F5B2-95C5-5B3C81189F1E}"/>
          </ac:spMkLst>
        </pc:spChg>
        <pc:spChg chg="mod ord">
          <ac:chgData name="Ajmeer Sherif Mohamed Kasim" userId="b0135b53-65c9-4763-8bfe-9cdb965640ba" providerId="ADAL" clId="{4C36FB82-90BD-421A-92CC-529C6459A323}" dt="2025-05-20T05:37:59.711" v="1710" actId="948"/>
          <ac:spMkLst>
            <pc:docMk/>
            <pc:sldMk cId="3118403372" sldId="2147480444"/>
            <ac:spMk id="139" creationId="{88C1C6DD-771E-6639-6548-0AA05D56A9A6}"/>
          </ac:spMkLst>
        </pc:spChg>
        <pc:spChg chg="mod ord">
          <ac:chgData name="Ajmeer Sherif Mohamed Kasim" userId="b0135b53-65c9-4763-8bfe-9cdb965640ba" providerId="ADAL" clId="{4C36FB82-90BD-421A-92CC-529C6459A323}" dt="2025-05-20T05:37:59.713" v="1713" actId="948"/>
          <ac:spMkLst>
            <pc:docMk/>
            <pc:sldMk cId="3118403372" sldId="2147480444"/>
            <ac:spMk id="167" creationId="{84827B23-68B6-1B2D-A623-18B0890DB969}"/>
          </ac:spMkLst>
        </pc:spChg>
        <pc:spChg chg="mod ord">
          <ac:chgData name="Ajmeer Sherif Mohamed Kasim" userId="b0135b53-65c9-4763-8bfe-9cdb965640ba" providerId="ADAL" clId="{4C36FB82-90BD-421A-92CC-529C6459A323}" dt="2025-05-20T05:37:59.716" v="1716" actId="948"/>
          <ac:spMkLst>
            <pc:docMk/>
            <pc:sldMk cId="3118403372" sldId="2147480444"/>
            <ac:spMk id="169" creationId="{1E2D7110-9171-A0CD-6179-F34B2E5E69E1}"/>
          </ac:spMkLst>
        </pc:spChg>
        <pc:spChg chg="mod ord">
          <ac:chgData name="Ajmeer Sherif Mohamed Kasim" userId="b0135b53-65c9-4763-8bfe-9cdb965640ba" providerId="ADAL" clId="{4C36FB82-90BD-421A-92CC-529C6459A323}" dt="2025-05-20T05:37:59.719" v="1719" actId="948"/>
          <ac:spMkLst>
            <pc:docMk/>
            <pc:sldMk cId="3118403372" sldId="2147480444"/>
            <ac:spMk id="170" creationId="{7D5E2757-8066-6ED3-C067-6B5A613C8782}"/>
          </ac:spMkLst>
        </pc:spChg>
        <pc:spChg chg="mod ord">
          <ac:chgData name="Ajmeer Sherif Mohamed Kasim" userId="b0135b53-65c9-4763-8bfe-9cdb965640ba" providerId="ADAL" clId="{4C36FB82-90BD-421A-92CC-529C6459A323}" dt="2025-05-20T05:37:59.721" v="1722" actId="948"/>
          <ac:spMkLst>
            <pc:docMk/>
            <pc:sldMk cId="3118403372" sldId="2147480444"/>
            <ac:spMk id="171" creationId="{B2EBA25D-77F6-029D-C90F-A5C26A6BE63D}"/>
          </ac:spMkLst>
        </pc:spChg>
        <pc:spChg chg="mod ord">
          <ac:chgData name="Ajmeer Sherif Mohamed Kasim" userId="b0135b53-65c9-4763-8bfe-9cdb965640ba" providerId="ADAL" clId="{4C36FB82-90BD-421A-92CC-529C6459A323}" dt="2025-05-20T05:37:59.724" v="1725" actId="948"/>
          <ac:spMkLst>
            <pc:docMk/>
            <pc:sldMk cId="3118403372" sldId="2147480444"/>
            <ac:spMk id="172" creationId="{02566167-0F67-FDB8-7757-BAFA8F2CA55C}"/>
          </ac:spMkLst>
        </pc:spChg>
        <pc:spChg chg="mod ord">
          <ac:chgData name="Ajmeer Sherif Mohamed Kasim" userId="b0135b53-65c9-4763-8bfe-9cdb965640ba" providerId="ADAL" clId="{4C36FB82-90BD-421A-92CC-529C6459A323}" dt="2025-05-20T05:37:59.670" v="1662" actId="948"/>
          <ac:spMkLst>
            <pc:docMk/>
            <pc:sldMk cId="3118403372" sldId="2147480444"/>
            <ac:spMk id="201" creationId="{81DBE110-3DB5-682B-1048-7347767DDE24}"/>
          </ac:spMkLst>
        </pc:spChg>
        <pc:spChg chg="mod ord">
          <ac:chgData name="Ajmeer Sherif Mohamed Kasim" userId="b0135b53-65c9-4763-8bfe-9cdb965640ba" providerId="ADAL" clId="{4C36FB82-90BD-421A-92CC-529C6459A323}" dt="2025-05-20T05:37:59.672" v="1665" actId="948"/>
          <ac:spMkLst>
            <pc:docMk/>
            <pc:sldMk cId="3118403372" sldId="2147480444"/>
            <ac:spMk id="202" creationId="{65EB5A32-9598-9132-9894-6372AB87FBB5}"/>
          </ac:spMkLst>
        </pc:spChg>
        <pc:spChg chg="mod ord">
          <ac:chgData name="Ajmeer Sherif Mohamed Kasim" userId="b0135b53-65c9-4763-8bfe-9cdb965640ba" providerId="ADAL" clId="{4C36FB82-90BD-421A-92CC-529C6459A323}" dt="2025-05-20T05:37:59.675" v="1668" actId="948"/>
          <ac:spMkLst>
            <pc:docMk/>
            <pc:sldMk cId="3118403372" sldId="2147480444"/>
            <ac:spMk id="203" creationId="{49F100D6-3D73-162A-3810-C2BF681342E3}"/>
          </ac:spMkLst>
        </pc:spChg>
        <pc:spChg chg="mod ord">
          <ac:chgData name="Ajmeer Sherif Mohamed Kasim" userId="b0135b53-65c9-4763-8bfe-9cdb965640ba" providerId="ADAL" clId="{4C36FB82-90BD-421A-92CC-529C6459A323}" dt="2025-05-20T05:37:59.775" v="1781" actId="948"/>
          <ac:spMkLst>
            <pc:docMk/>
            <pc:sldMk cId="3118403372" sldId="2147480444"/>
            <ac:spMk id="225" creationId="{18536A32-0270-80A2-8E22-3DB65BCDE81B}"/>
          </ac:spMkLst>
        </pc:spChg>
        <pc:spChg chg="mod ord">
          <ac:chgData name="Ajmeer Sherif Mohamed Kasim" userId="b0135b53-65c9-4763-8bfe-9cdb965640ba" providerId="ADAL" clId="{4C36FB82-90BD-421A-92CC-529C6459A323}" dt="2025-05-14T07:00:50.050" v="1239"/>
          <ac:spMkLst>
            <pc:docMk/>
            <pc:sldMk cId="3118403372" sldId="2147480444"/>
            <ac:spMk id="227" creationId="{B7546F6B-480E-826E-5293-BDA6924F16D3}"/>
          </ac:spMkLst>
        </pc:spChg>
        <pc:spChg chg="mod ord">
          <ac:chgData name="Ajmeer Sherif Mohamed Kasim" userId="b0135b53-65c9-4763-8bfe-9cdb965640ba" providerId="ADAL" clId="{4C36FB82-90BD-421A-92CC-529C6459A323}" dt="2025-05-20T05:37:59.781" v="1788" actId="948"/>
          <ac:spMkLst>
            <pc:docMk/>
            <pc:sldMk cId="3118403372" sldId="2147480444"/>
            <ac:spMk id="229" creationId="{0E2B52F5-F8AF-224D-9CBE-FCD199A3D4ED}"/>
          </ac:spMkLst>
        </pc:spChg>
        <pc:spChg chg="mod ord">
          <ac:chgData name="Ajmeer Sherif Mohamed Kasim" userId="b0135b53-65c9-4763-8bfe-9cdb965640ba" providerId="ADAL" clId="{4C36FB82-90BD-421A-92CC-529C6459A323}" dt="2025-05-14T07:00:50.050" v="1240"/>
          <ac:spMkLst>
            <pc:docMk/>
            <pc:sldMk cId="3118403372" sldId="2147480444"/>
            <ac:spMk id="231" creationId="{8E54E6F6-16D7-7DA7-AE2A-E42F2CE7520C}"/>
          </ac:spMkLst>
        </pc:spChg>
        <pc:spChg chg="mod ord">
          <ac:chgData name="Ajmeer Sherif Mohamed Kasim" userId="b0135b53-65c9-4763-8bfe-9cdb965640ba" providerId="ADAL" clId="{4C36FB82-90BD-421A-92CC-529C6459A323}" dt="2025-05-14T07:00:50.047" v="1226"/>
          <ac:spMkLst>
            <pc:docMk/>
            <pc:sldMk cId="3118403372" sldId="2147480444"/>
            <ac:spMk id="280" creationId="{A1D490DD-122F-614E-3D7B-7C4D481C60CC}"/>
          </ac:spMkLst>
        </pc:spChg>
        <pc:spChg chg="mod ord">
          <ac:chgData name="Ajmeer Sherif Mohamed Kasim" userId="b0135b53-65c9-4763-8bfe-9cdb965640ba" providerId="ADAL" clId="{4C36FB82-90BD-421A-92CC-529C6459A323}" dt="2025-05-20T05:37:59.783" v="1791" actId="948"/>
          <ac:spMkLst>
            <pc:docMk/>
            <pc:sldMk cId="3118403372" sldId="2147480444"/>
            <ac:spMk id="283" creationId="{C59538CB-96CA-DB75-719A-AED7C24C1DA7}"/>
          </ac:spMkLst>
        </pc:spChg>
        <pc:spChg chg="mod ord">
          <ac:chgData name="Ajmeer Sherif Mohamed Kasim" userId="b0135b53-65c9-4763-8bfe-9cdb965640ba" providerId="ADAL" clId="{4C36FB82-90BD-421A-92CC-529C6459A323}" dt="2025-05-14T07:00:50.051" v="1241"/>
          <ac:spMkLst>
            <pc:docMk/>
            <pc:sldMk cId="3118403372" sldId="2147480444"/>
            <ac:spMk id="285" creationId="{0703B57B-222B-3DE3-2296-4465757EFCD9}"/>
          </ac:spMkLst>
        </pc:spChg>
        <pc:graphicFrameChg chg="mod ord">
          <ac:chgData name="Ajmeer Sherif Mohamed Kasim" userId="b0135b53-65c9-4763-8bfe-9cdb965640ba" providerId="ADAL" clId="{4C36FB82-90BD-421A-92CC-529C6459A323}" dt="2025-05-14T07:00:50.047" v="1225"/>
          <ac:graphicFrameMkLst>
            <pc:docMk/>
            <pc:sldMk cId="3118403372" sldId="2147480444"/>
            <ac:graphicFrameMk id="7" creationId="{7BF17D17-BC45-076F-463D-84B40EB70E92}"/>
          </ac:graphicFrameMkLst>
        </pc:graphicFrameChg>
        <pc:graphicFrameChg chg="mod">
          <ac:chgData name="Ajmeer Sherif Mohamed Kasim" userId="b0135b53-65c9-4763-8bfe-9cdb965640ba" providerId="ADAL" clId="{4C36FB82-90BD-421A-92CC-529C6459A323}" dt="2025-05-20T05:37:59.808" v="1819"/>
          <ac:graphicFrameMkLst>
            <pc:docMk/>
            <pc:sldMk cId="3118403372" sldId="2147480444"/>
            <ac:graphicFrameMk id="22" creationId="{B4FCA73E-344A-0D95-871C-79359B29C97F}"/>
          </ac:graphicFrameMkLst>
        </pc:graphicFrameChg>
        <pc:cxnChg chg="mod ord">
          <ac:chgData name="Ajmeer Sherif Mohamed Kasim" userId="b0135b53-65c9-4763-8bfe-9cdb965640ba" providerId="ADAL" clId="{4C36FB82-90BD-421A-92CC-529C6459A323}" dt="2025-05-14T07:00:50.053" v="1250"/>
          <ac:cxnSpMkLst>
            <pc:docMk/>
            <pc:sldMk cId="3118403372" sldId="2147480444"/>
            <ac:cxnSpMk id="9" creationId="{E31CA3CD-1737-71A8-4F36-923F00F9AA0A}"/>
          </ac:cxnSpMkLst>
        </pc:cxnChg>
        <pc:cxnChg chg="mod ord">
          <ac:chgData name="Ajmeer Sherif Mohamed Kasim" userId="b0135b53-65c9-4763-8bfe-9cdb965640ba" providerId="ADAL" clId="{4C36FB82-90BD-421A-92CC-529C6459A323}" dt="2025-05-14T07:00:50.052" v="1248"/>
          <ac:cxnSpMkLst>
            <pc:docMk/>
            <pc:sldMk cId="3118403372" sldId="2147480444"/>
            <ac:cxnSpMk id="10" creationId="{FD74E36F-CD17-553A-6D0A-472059E2DFC6}"/>
          </ac:cxnSpMkLst>
        </pc:cxnChg>
        <pc:cxnChg chg="mod ord">
          <ac:chgData name="Ajmeer Sherif Mohamed Kasim" userId="b0135b53-65c9-4763-8bfe-9cdb965640ba" providerId="ADAL" clId="{4C36FB82-90BD-421A-92CC-529C6459A323}" dt="2025-05-14T07:00:50.053" v="1249"/>
          <ac:cxnSpMkLst>
            <pc:docMk/>
            <pc:sldMk cId="3118403372" sldId="2147480444"/>
            <ac:cxnSpMk id="14" creationId="{DBFF37E7-F529-D2C6-5D66-B300FC22B5DC}"/>
          </ac:cxnSpMkLst>
        </pc:cxnChg>
        <pc:cxnChg chg="mod ord">
          <ac:chgData name="Ajmeer Sherif Mohamed Kasim" userId="b0135b53-65c9-4763-8bfe-9cdb965640ba" providerId="ADAL" clId="{4C36FB82-90BD-421A-92CC-529C6459A323}" dt="2025-05-14T07:00:50.058" v="1271"/>
          <ac:cxnSpMkLst>
            <pc:docMk/>
            <pc:sldMk cId="3118403372" sldId="2147480444"/>
            <ac:cxnSpMk id="38" creationId="{A07A634F-F94B-302E-F325-93BD85946EEA}"/>
          </ac:cxnSpMkLst>
        </pc:cxnChg>
        <pc:cxnChg chg="mod ord">
          <ac:chgData name="Ajmeer Sherif Mohamed Kasim" userId="b0135b53-65c9-4763-8bfe-9cdb965640ba" providerId="ADAL" clId="{4C36FB82-90BD-421A-92CC-529C6459A323}" dt="2025-05-14T07:00:50.058" v="1270"/>
          <ac:cxnSpMkLst>
            <pc:docMk/>
            <pc:sldMk cId="3118403372" sldId="2147480444"/>
            <ac:cxnSpMk id="39" creationId="{FBD293E6-1C43-14D3-599D-165E88CFDA23}"/>
          </ac:cxnSpMkLst>
        </pc:cxnChg>
        <pc:cxnChg chg="mod ord">
          <ac:chgData name="Ajmeer Sherif Mohamed Kasim" userId="b0135b53-65c9-4763-8bfe-9cdb965640ba" providerId="ADAL" clId="{4C36FB82-90BD-421A-92CC-529C6459A323}" dt="2025-05-14T07:00:50.057" v="1269"/>
          <ac:cxnSpMkLst>
            <pc:docMk/>
            <pc:sldMk cId="3118403372" sldId="2147480444"/>
            <ac:cxnSpMk id="51" creationId="{232B4C1B-5511-6870-D146-2FB41961E86D}"/>
          </ac:cxnSpMkLst>
        </pc:cxnChg>
        <pc:cxnChg chg="mod ord">
          <ac:chgData name="Ajmeer Sherif Mohamed Kasim" userId="b0135b53-65c9-4763-8bfe-9cdb965640ba" providerId="ADAL" clId="{4C36FB82-90BD-421A-92CC-529C6459A323}" dt="2025-05-14T07:00:50.055" v="1261"/>
          <ac:cxnSpMkLst>
            <pc:docMk/>
            <pc:sldMk cId="3118403372" sldId="2147480444"/>
            <ac:cxnSpMk id="52" creationId="{9B711B8D-18B0-CD85-076E-680532810800}"/>
          </ac:cxnSpMkLst>
        </pc:cxnChg>
        <pc:cxnChg chg="mod ord">
          <ac:chgData name="Ajmeer Sherif Mohamed Kasim" userId="b0135b53-65c9-4763-8bfe-9cdb965640ba" providerId="ADAL" clId="{4C36FB82-90BD-421A-92CC-529C6459A323}" dt="2025-05-14T07:00:50.057" v="1268"/>
          <ac:cxnSpMkLst>
            <pc:docMk/>
            <pc:sldMk cId="3118403372" sldId="2147480444"/>
            <ac:cxnSpMk id="53" creationId="{729EC8F7-F4E8-A7AE-293E-94E4AFCD6E0E}"/>
          </ac:cxnSpMkLst>
        </pc:cxnChg>
        <pc:cxnChg chg="mod ord">
          <ac:chgData name="Ajmeer Sherif Mohamed Kasim" userId="b0135b53-65c9-4763-8bfe-9cdb965640ba" providerId="ADAL" clId="{4C36FB82-90BD-421A-92CC-529C6459A323}" dt="2025-05-14T07:00:50.057" v="1267"/>
          <ac:cxnSpMkLst>
            <pc:docMk/>
            <pc:sldMk cId="3118403372" sldId="2147480444"/>
            <ac:cxnSpMk id="55" creationId="{7566C59A-6354-DE2E-F5F9-156903E57C79}"/>
          </ac:cxnSpMkLst>
        </pc:cxnChg>
        <pc:cxnChg chg="mod ord">
          <ac:chgData name="Ajmeer Sherif Mohamed Kasim" userId="b0135b53-65c9-4763-8bfe-9cdb965640ba" providerId="ADAL" clId="{4C36FB82-90BD-421A-92CC-529C6459A323}" dt="2025-05-14T07:00:50.057" v="1266"/>
          <ac:cxnSpMkLst>
            <pc:docMk/>
            <pc:sldMk cId="3118403372" sldId="2147480444"/>
            <ac:cxnSpMk id="57" creationId="{53FD2C44-691B-EF62-FFD7-D4CCA8A2937A}"/>
          </ac:cxnSpMkLst>
        </pc:cxnChg>
        <pc:cxnChg chg="mod ord">
          <ac:chgData name="Ajmeer Sherif Mohamed Kasim" userId="b0135b53-65c9-4763-8bfe-9cdb965640ba" providerId="ADAL" clId="{4C36FB82-90BD-421A-92CC-529C6459A323}" dt="2025-05-14T07:00:50.056" v="1265"/>
          <ac:cxnSpMkLst>
            <pc:docMk/>
            <pc:sldMk cId="3118403372" sldId="2147480444"/>
            <ac:cxnSpMk id="59" creationId="{3EF3C55F-DF6A-7C79-963A-CC52DAB5B330}"/>
          </ac:cxnSpMkLst>
        </pc:cxnChg>
        <pc:cxnChg chg="mod ord">
          <ac:chgData name="Ajmeer Sherif Mohamed Kasim" userId="b0135b53-65c9-4763-8bfe-9cdb965640ba" providerId="ADAL" clId="{4C36FB82-90BD-421A-92CC-529C6459A323}" dt="2025-05-20T05:37:59.804" v="1813"/>
          <ac:cxnSpMkLst>
            <pc:docMk/>
            <pc:sldMk cId="3118403372" sldId="2147480444"/>
            <ac:cxnSpMk id="68" creationId="{11476DB5-5024-A0C1-966A-385F0BD0922D}"/>
          </ac:cxnSpMkLst>
        </pc:cxnChg>
        <pc:cxnChg chg="mod ord">
          <ac:chgData name="Ajmeer Sherif Mohamed Kasim" userId="b0135b53-65c9-4763-8bfe-9cdb965640ba" providerId="ADAL" clId="{4C36FB82-90BD-421A-92CC-529C6459A323}" dt="2025-05-14T07:00:50.058" v="1273"/>
          <ac:cxnSpMkLst>
            <pc:docMk/>
            <pc:sldMk cId="3118403372" sldId="2147480444"/>
            <ac:cxnSpMk id="73" creationId="{C2C5E772-25C4-E56D-67D8-1C165070CE0E}"/>
          </ac:cxnSpMkLst>
        </pc:cxnChg>
        <pc:cxnChg chg="mod ord">
          <ac:chgData name="Ajmeer Sherif Mohamed Kasim" userId="b0135b53-65c9-4763-8bfe-9cdb965640ba" providerId="ADAL" clId="{4C36FB82-90BD-421A-92CC-529C6459A323}" dt="2025-05-14T07:00:50.055" v="1260"/>
          <ac:cxnSpMkLst>
            <pc:docMk/>
            <pc:sldMk cId="3118403372" sldId="2147480444"/>
            <ac:cxnSpMk id="74" creationId="{505E6920-3250-1C0C-DDE5-2C0F9A8324C7}"/>
          </ac:cxnSpMkLst>
        </pc:cxnChg>
        <pc:cxnChg chg="mod ord">
          <ac:chgData name="Ajmeer Sherif Mohamed Kasim" userId="b0135b53-65c9-4763-8bfe-9cdb965640ba" providerId="ADAL" clId="{4C36FB82-90BD-421A-92CC-529C6459A323}" dt="2025-05-14T07:00:50.056" v="1264"/>
          <ac:cxnSpMkLst>
            <pc:docMk/>
            <pc:sldMk cId="3118403372" sldId="2147480444"/>
            <ac:cxnSpMk id="87" creationId="{7A6376E0-F129-6D49-E7FF-AC1439C16FA4}"/>
          </ac:cxnSpMkLst>
        </pc:cxnChg>
        <pc:cxnChg chg="mod ord">
          <ac:chgData name="Ajmeer Sherif Mohamed Kasim" userId="b0135b53-65c9-4763-8bfe-9cdb965640ba" providerId="ADAL" clId="{4C36FB82-90BD-421A-92CC-529C6459A323}" dt="2025-05-14T07:00:50.056" v="1263"/>
          <ac:cxnSpMkLst>
            <pc:docMk/>
            <pc:sldMk cId="3118403372" sldId="2147480444"/>
            <ac:cxnSpMk id="88" creationId="{48670076-D4BB-196A-5064-3056AEAB0524}"/>
          </ac:cxnSpMkLst>
        </pc:cxnChg>
        <pc:cxnChg chg="mod ord">
          <ac:chgData name="Ajmeer Sherif Mohamed Kasim" userId="b0135b53-65c9-4763-8bfe-9cdb965640ba" providerId="ADAL" clId="{4C36FB82-90BD-421A-92CC-529C6459A323}" dt="2025-05-14T07:00:50.056" v="1262"/>
          <ac:cxnSpMkLst>
            <pc:docMk/>
            <pc:sldMk cId="3118403372" sldId="2147480444"/>
            <ac:cxnSpMk id="89" creationId="{18E77603-3B0A-E343-6FE2-6E8CE36903C3}"/>
          </ac:cxnSpMkLst>
        </pc:cxnChg>
        <pc:cxnChg chg="mod ord">
          <ac:chgData name="Ajmeer Sherif Mohamed Kasim" userId="b0135b53-65c9-4763-8bfe-9cdb965640ba" providerId="ADAL" clId="{4C36FB82-90BD-421A-92CC-529C6459A323}" dt="2025-05-14T07:00:50.051" v="1242"/>
          <ac:cxnSpMkLst>
            <pc:docMk/>
            <pc:sldMk cId="3118403372" sldId="2147480444"/>
            <ac:cxnSpMk id="90" creationId="{2F2E02BF-ABE2-5C56-89AD-D9861EC520C4}"/>
          </ac:cxnSpMkLst>
        </pc:cxnChg>
        <pc:cxnChg chg="mod ord">
          <ac:chgData name="Ajmeer Sherif Mohamed Kasim" userId="b0135b53-65c9-4763-8bfe-9cdb965640ba" providerId="ADAL" clId="{4C36FB82-90BD-421A-92CC-529C6459A323}" dt="2025-05-14T07:00:50.051" v="1244"/>
          <ac:cxnSpMkLst>
            <pc:docMk/>
            <pc:sldMk cId="3118403372" sldId="2147480444"/>
            <ac:cxnSpMk id="91" creationId="{D1F28AFE-0834-8EF7-8C9A-76E0E98A35CD}"/>
          </ac:cxnSpMkLst>
        </pc:cxnChg>
        <pc:cxnChg chg="mod ord">
          <ac:chgData name="Ajmeer Sherif Mohamed Kasim" userId="b0135b53-65c9-4763-8bfe-9cdb965640ba" providerId="ADAL" clId="{4C36FB82-90BD-421A-92CC-529C6459A323}" dt="2025-05-14T07:00:50.055" v="1259"/>
          <ac:cxnSpMkLst>
            <pc:docMk/>
            <pc:sldMk cId="3118403372" sldId="2147480444"/>
            <ac:cxnSpMk id="102" creationId="{5B484DEB-32C6-095B-61AD-BAC87CB8EE5A}"/>
          </ac:cxnSpMkLst>
        </pc:cxnChg>
        <pc:cxnChg chg="mod ord">
          <ac:chgData name="Ajmeer Sherif Mohamed Kasim" userId="b0135b53-65c9-4763-8bfe-9cdb965640ba" providerId="ADAL" clId="{4C36FB82-90BD-421A-92CC-529C6459A323}" dt="2025-05-14T07:00:50.055" v="1258"/>
          <ac:cxnSpMkLst>
            <pc:docMk/>
            <pc:sldMk cId="3118403372" sldId="2147480444"/>
            <ac:cxnSpMk id="103" creationId="{A82C1696-6C7E-B27B-CC87-BDD89575078F}"/>
          </ac:cxnSpMkLst>
        </pc:cxnChg>
        <pc:cxnChg chg="mod ord">
          <ac:chgData name="Ajmeer Sherif Mohamed Kasim" userId="b0135b53-65c9-4763-8bfe-9cdb965640ba" providerId="ADAL" clId="{4C36FB82-90BD-421A-92CC-529C6459A323}" dt="2025-05-14T07:00:50.055" v="1257"/>
          <ac:cxnSpMkLst>
            <pc:docMk/>
            <pc:sldMk cId="3118403372" sldId="2147480444"/>
            <ac:cxnSpMk id="104" creationId="{1BF19605-0948-B925-968E-05615D8AD8D2}"/>
          </ac:cxnSpMkLst>
        </pc:cxnChg>
        <pc:cxnChg chg="mod ord">
          <ac:chgData name="Ajmeer Sherif Mohamed Kasim" userId="b0135b53-65c9-4763-8bfe-9cdb965640ba" providerId="ADAL" clId="{4C36FB82-90BD-421A-92CC-529C6459A323}" dt="2025-05-14T07:00:50.054" v="1256"/>
          <ac:cxnSpMkLst>
            <pc:docMk/>
            <pc:sldMk cId="3118403372" sldId="2147480444"/>
            <ac:cxnSpMk id="105" creationId="{1E3FE518-89F0-D3DE-D893-4AA6668D8AE4}"/>
          </ac:cxnSpMkLst>
        </pc:cxnChg>
        <pc:cxnChg chg="mod ord">
          <ac:chgData name="Ajmeer Sherif Mohamed Kasim" userId="b0135b53-65c9-4763-8bfe-9cdb965640ba" providerId="ADAL" clId="{4C36FB82-90BD-421A-92CC-529C6459A323}" dt="2025-05-14T07:00:50.054" v="1255"/>
          <ac:cxnSpMkLst>
            <pc:docMk/>
            <pc:sldMk cId="3118403372" sldId="2147480444"/>
            <ac:cxnSpMk id="106" creationId="{C586BB72-DABD-AAC7-52FC-999FBD1F9559}"/>
          </ac:cxnSpMkLst>
        </pc:cxnChg>
        <pc:cxnChg chg="mod ord">
          <ac:chgData name="Ajmeer Sherif Mohamed Kasim" userId="b0135b53-65c9-4763-8bfe-9cdb965640ba" providerId="ADAL" clId="{4C36FB82-90BD-421A-92CC-529C6459A323}" dt="2025-05-14T07:00:50.054" v="1254"/>
          <ac:cxnSpMkLst>
            <pc:docMk/>
            <pc:sldMk cId="3118403372" sldId="2147480444"/>
            <ac:cxnSpMk id="107" creationId="{B1160815-2D34-BE7A-E719-D96CB70BFB22}"/>
          </ac:cxnSpMkLst>
        </pc:cxnChg>
        <pc:cxnChg chg="mod ord">
          <ac:chgData name="Ajmeer Sherif Mohamed Kasim" userId="b0135b53-65c9-4763-8bfe-9cdb965640ba" providerId="ADAL" clId="{4C36FB82-90BD-421A-92CC-529C6459A323}" dt="2025-05-14T07:00:50.054" v="1253"/>
          <ac:cxnSpMkLst>
            <pc:docMk/>
            <pc:sldMk cId="3118403372" sldId="2147480444"/>
            <ac:cxnSpMk id="140" creationId="{6F069B0D-6466-290B-BFED-A8F18D2ADC9D}"/>
          </ac:cxnSpMkLst>
        </pc:cxnChg>
        <pc:cxnChg chg="mod ord">
          <ac:chgData name="Ajmeer Sherif Mohamed Kasim" userId="b0135b53-65c9-4763-8bfe-9cdb965640ba" providerId="ADAL" clId="{4C36FB82-90BD-421A-92CC-529C6459A323}" dt="2025-05-14T07:00:50.053" v="1252"/>
          <ac:cxnSpMkLst>
            <pc:docMk/>
            <pc:sldMk cId="3118403372" sldId="2147480444"/>
            <ac:cxnSpMk id="141" creationId="{9E5A510D-C65E-5EAA-1941-21498E60D4A7}"/>
          </ac:cxnSpMkLst>
        </pc:cxnChg>
        <pc:cxnChg chg="mod ord">
          <ac:chgData name="Ajmeer Sherif Mohamed Kasim" userId="b0135b53-65c9-4763-8bfe-9cdb965640ba" providerId="ADAL" clId="{4C36FB82-90BD-421A-92CC-529C6459A323}" dt="2025-05-14T07:00:50.053" v="1251"/>
          <ac:cxnSpMkLst>
            <pc:docMk/>
            <pc:sldMk cId="3118403372" sldId="2147480444"/>
            <ac:cxnSpMk id="142" creationId="{5418B576-F51B-176D-936E-DA36DDE18DE7}"/>
          </ac:cxnSpMkLst>
        </pc:cxnChg>
        <pc:cxnChg chg="mod ord">
          <ac:chgData name="Ajmeer Sherif Mohamed Kasim" userId="b0135b53-65c9-4763-8bfe-9cdb965640ba" providerId="ADAL" clId="{4C36FB82-90BD-421A-92CC-529C6459A323}" dt="2025-05-14T07:00:50.052" v="1247"/>
          <ac:cxnSpMkLst>
            <pc:docMk/>
            <pc:sldMk cId="3118403372" sldId="2147480444"/>
            <ac:cxnSpMk id="174" creationId="{00CB6BFA-6BAD-CB27-49FC-5595DF7C7A27}"/>
          </ac:cxnSpMkLst>
        </pc:cxnChg>
        <pc:cxnChg chg="mod ord">
          <ac:chgData name="Ajmeer Sherif Mohamed Kasim" userId="b0135b53-65c9-4763-8bfe-9cdb965640ba" providerId="ADAL" clId="{4C36FB82-90BD-421A-92CC-529C6459A323}" dt="2025-05-14T07:00:50.052" v="1246"/>
          <ac:cxnSpMkLst>
            <pc:docMk/>
            <pc:sldMk cId="3118403372" sldId="2147480444"/>
            <ac:cxnSpMk id="175" creationId="{6CF37D4C-E1EA-E66D-EB3B-43C23A2ABB37}"/>
          </ac:cxnSpMkLst>
        </pc:cxnChg>
        <pc:cxnChg chg="mod ord">
          <ac:chgData name="Ajmeer Sherif Mohamed Kasim" userId="b0135b53-65c9-4763-8bfe-9cdb965640ba" providerId="ADAL" clId="{4C36FB82-90BD-421A-92CC-529C6459A323}" dt="2025-05-14T07:00:50.052" v="1245"/>
          <ac:cxnSpMkLst>
            <pc:docMk/>
            <pc:sldMk cId="3118403372" sldId="2147480444"/>
            <ac:cxnSpMk id="176" creationId="{A841773E-EAC7-03F7-F4B4-509A7A36998F}"/>
          </ac:cxnSpMkLst>
        </pc:cxnChg>
        <pc:cxnChg chg="mod ord">
          <ac:chgData name="Ajmeer Sherif Mohamed Kasim" userId="b0135b53-65c9-4763-8bfe-9cdb965640ba" providerId="ADAL" clId="{4C36FB82-90BD-421A-92CC-529C6459A323}" dt="2025-05-14T07:00:50.059" v="1276"/>
          <ac:cxnSpMkLst>
            <pc:docMk/>
            <pc:sldMk cId="3118403372" sldId="2147480444"/>
            <ac:cxnSpMk id="177" creationId="{FBF72AAC-5B6E-B82D-4482-4B2FFD44E0EE}"/>
          </ac:cxnSpMkLst>
        </pc:cxnChg>
        <pc:cxnChg chg="mod ord">
          <ac:chgData name="Ajmeer Sherif Mohamed Kasim" userId="b0135b53-65c9-4763-8bfe-9cdb965640ba" providerId="ADAL" clId="{4C36FB82-90BD-421A-92CC-529C6459A323}" dt="2025-05-14T07:00:50.059" v="1275"/>
          <ac:cxnSpMkLst>
            <pc:docMk/>
            <pc:sldMk cId="3118403372" sldId="2147480444"/>
            <ac:cxnSpMk id="204" creationId="{9F75FBE4-40D0-7BB3-08F8-C2B37A1EEE32}"/>
          </ac:cxnSpMkLst>
        </pc:cxnChg>
        <pc:cxnChg chg="mod ord">
          <ac:chgData name="Ajmeer Sherif Mohamed Kasim" userId="b0135b53-65c9-4763-8bfe-9cdb965640ba" providerId="ADAL" clId="{4C36FB82-90BD-421A-92CC-529C6459A323}" dt="2025-05-14T07:00:50.059" v="1274"/>
          <ac:cxnSpMkLst>
            <pc:docMk/>
            <pc:sldMk cId="3118403372" sldId="2147480444"/>
            <ac:cxnSpMk id="205" creationId="{986DA8F7-9CB3-CA91-5941-D9AC53733596}"/>
          </ac:cxnSpMkLst>
        </pc:cxnChg>
        <pc:cxnChg chg="mod ord">
          <ac:chgData name="Ajmeer Sherif Mohamed Kasim" userId="b0135b53-65c9-4763-8bfe-9cdb965640ba" providerId="ADAL" clId="{4C36FB82-90BD-421A-92CC-529C6459A323}" dt="2025-05-14T07:00:50.058" v="1272"/>
          <ac:cxnSpMkLst>
            <pc:docMk/>
            <pc:sldMk cId="3118403372" sldId="2147480444"/>
            <ac:cxnSpMk id="206" creationId="{CE7E29DE-7E05-630B-A683-D4251878E871}"/>
          </ac:cxnSpMkLst>
        </pc:cxnChg>
      </pc:sldChg>
      <pc:sldChg chg="modSp mod">
        <pc:chgData name="Ajmeer Sherif Mohamed Kasim" userId="b0135b53-65c9-4763-8bfe-9cdb965640ba" providerId="ADAL" clId="{4C36FB82-90BD-421A-92CC-529C6459A323}" dt="2025-05-19T11:09:45.152" v="1397" actId="108"/>
        <pc:sldMkLst>
          <pc:docMk/>
          <pc:sldMk cId="4014685245" sldId="2147481231"/>
        </pc:sldMkLst>
        <pc:graphicFrameChg chg="mod modGraphic">
          <ac:chgData name="Ajmeer Sherif Mohamed Kasim" userId="b0135b53-65c9-4763-8bfe-9cdb965640ba" providerId="ADAL" clId="{4C36FB82-90BD-421A-92CC-529C6459A323}" dt="2025-05-19T11:09:45.152" v="1397" actId="108"/>
          <ac:graphicFrameMkLst>
            <pc:docMk/>
            <pc:sldMk cId="4014685245" sldId="2147481231"/>
            <ac:graphicFrameMk id="8" creationId="{05550516-049F-AE40-7162-5F639A7E12F0}"/>
          </ac:graphicFrameMkLst>
        </pc:graphicFrameChg>
      </pc:sldChg>
      <pc:sldChg chg="del">
        <pc:chgData name="Ajmeer Sherif Mohamed Kasim" userId="b0135b53-65c9-4763-8bfe-9cdb965640ba" providerId="ADAL" clId="{4C36FB82-90BD-421A-92CC-529C6459A323}" dt="2025-05-19T11:11:59.334" v="1398" actId="2696"/>
        <pc:sldMkLst>
          <pc:docMk/>
          <pc:sldMk cId="2281522627" sldId="2147481236"/>
        </pc:sldMkLst>
      </pc:sldChg>
      <pc:sldChg chg="addSp delSp modSp mod">
        <pc:chgData name="Ajmeer Sherif Mohamed Kasim" userId="b0135b53-65c9-4763-8bfe-9cdb965640ba" providerId="ADAL" clId="{4C36FB82-90BD-421A-92CC-529C6459A323}" dt="2025-05-20T05:11:32.098" v="1509"/>
        <pc:sldMkLst>
          <pc:docMk/>
          <pc:sldMk cId="3714057606" sldId="2147481238"/>
        </pc:sldMkLst>
        <pc:spChg chg="mod">
          <ac:chgData name="Ajmeer Sherif Mohamed Kasim" userId="b0135b53-65c9-4763-8bfe-9cdb965640ba" providerId="ADAL" clId="{4C36FB82-90BD-421A-92CC-529C6459A323}" dt="2025-05-20T05:11:32.068" v="1485" actId="948"/>
          <ac:spMkLst>
            <pc:docMk/>
            <pc:sldMk cId="3714057606" sldId="2147481238"/>
            <ac:spMk id="9" creationId="{4796F4AE-DA47-03E7-803C-A3A323B73B54}"/>
          </ac:spMkLst>
        </pc:spChg>
        <pc:graphicFrameChg chg="mod">
          <ac:chgData name="Ajmeer Sherif Mohamed Kasim" userId="b0135b53-65c9-4763-8bfe-9cdb965640ba" providerId="ADAL" clId="{4C36FB82-90BD-421A-92CC-529C6459A323}" dt="2025-05-20T05:11:32.098" v="1509"/>
          <ac:graphicFrameMkLst>
            <pc:docMk/>
            <pc:sldMk cId="3714057606" sldId="2147481238"/>
            <ac:graphicFrameMk id="8" creationId="{D113C7C7-8F1F-8FB7-5508-A20CBEE9427F}"/>
          </ac:graphicFrameMkLst>
        </pc:graphicFrameChg>
      </pc:sldChg>
      <pc:sldMasterChg chg="modSp mod">
        <pc:chgData name="Ajmeer Sherif Mohamed Kasim" userId="b0135b53-65c9-4763-8bfe-9cdb965640ba" providerId="ADAL" clId="{4C36FB82-90BD-421A-92CC-529C6459A323}" dt="2025-05-14T06:57:32.614" v="871"/>
        <pc:sldMasterMkLst>
          <pc:docMk/>
          <pc:sldMasterMk cId="3829810441" sldId="2147483708"/>
        </pc:sldMasterMkLst>
        <pc:graphicFrameChg chg="mod">
          <ac:chgData name="Ajmeer Sherif Mohamed Kasim" userId="b0135b53-65c9-4763-8bfe-9cdb965640ba" providerId="ADAL" clId="{4C36FB82-90BD-421A-92CC-529C6459A323}" dt="2025-05-14T06:57:32.614" v="871"/>
          <ac:graphicFrameMkLst>
            <pc:docMk/>
            <pc:sldMasterMk cId="3829810441" sldId="2147483708"/>
            <ac:graphicFrameMk id="2" creationId="{3AF9C10A-704C-A28B-4866-11B782F1ECAA}"/>
          </ac:graphicFrameMkLst>
        </pc:graphicFrameChg>
      </pc:sldMasterChg>
    </pc:docChg>
  </pc:docChgLst>
  <pc:docChgLst>
    <pc:chgData name="Nikhil Kumar Laxmi Chandra Jha" userId="ddde9457-c3ef-4fd2-8a2a-a71426930753" providerId="ADAL" clId="{7F8E2C2D-79B1-42EF-A84E-EA8312633D21}"/>
    <pc:docChg chg="modSld">
      <pc:chgData name="Nikhil Kumar Laxmi Chandra Jha" userId="ddde9457-c3ef-4fd2-8a2a-a71426930753" providerId="ADAL" clId="{7F8E2C2D-79B1-42EF-A84E-EA8312633D21}" dt="2025-04-15T10:01:50.933" v="10" actId="27918"/>
      <pc:docMkLst>
        <pc:docMk/>
      </pc:docMkLst>
      <pc:sldChg chg="mod">
        <pc:chgData name="Nikhil Kumar Laxmi Chandra Jha" userId="ddde9457-c3ef-4fd2-8a2a-a71426930753" providerId="ADAL" clId="{7F8E2C2D-79B1-42EF-A84E-EA8312633D21}" dt="2025-04-15T10:00:35.832" v="8" actId="27918"/>
        <pc:sldMkLst>
          <pc:docMk/>
          <pc:sldMk cId="4014685245" sldId="2147481231"/>
        </pc:sldMkLst>
      </pc:sldChg>
      <pc:sldChg chg="mod">
        <pc:chgData name="Nikhil Kumar Laxmi Chandra Jha" userId="ddde9457-c3ef-4fd2-8a2a-a71426930753" providerId="ADAL" clId="{7F8E2C2D-79B1-42EF-A84E-EA8312633D21}" dt="2025-04-15T10:01:50.933" v="10" actId="27918"/>
        <pc:sldMkLst>
          <pc:docMk/>
          <pc:sldMk cId="1431349737" sldId="2147481239"/>
        </pc:sldMkLst>
      </pc:sldChg>
    </pc:docChg>
  </pc:docChgLst>
  <pc:docChgLst>
    <pc:chgData name="Esam Al Murawwi" userId="02aaa86e-b540-44be-b806-da09275ceef6" providerId="ADAL" clId="{9091FEF6-7E2D-41D1-A90E-2211FF5C775B}"/>
    <pc:docChg chg="undo custSel modSld">
      <pc:chgData name="Esam Al Murawwi" userId="02aaa86e-b540-44be-b806-da09275ceef6" providerId="ADAL" clId="{9091FEF6-7E2D-41D1-A90E-2211FF5C775B}" dt="2025-03-06T03:40:53.409" v="267" actId="20577"/>
      <pc:docMkLst>
        <pc:docMk/>
      </pc:docMkLst>
      <pc:sldChg chg="modSp mod">
        <pc:chgData name="Esam Al Murawwi" userId="02aaa86e-b540-44be-b806-da09275ceef6" providerId="ADAL" clId="{9091FEF6-7E2D-41D1-A90E-2211FF5C775B}" dt="2025-03-06T03:36:54.994" v="144" actId="20577"/>
        <pc:sldMkLst>
          <pc:docMk/>
          <pc:sldMk cId="360656682" sldId="317"/>
        </pc:sldMkLst>
      </pc:sldChg>
      <pc:sldChg chg="modSp mod">
        <pc:chgData name="Esam Al Murawwi" userId="02aaa86e-b540-44be-b806-da09275ceef6" providerId="ADAL" clId="{9091FEF6-7E2D-41D1-A90E-2211FF5C775B}" dt="2025-03-06T03:40:18.950" v="257" actId="14734"/>
        <pc:sldMkLst>
          <pc:docMk/>
          <pc:sldMk cId="4014685245" sldId="2147481231"/>
        </pc:sldMkLst>
        <pc:spChg chg="mod">
          <ac:chgData name="Esam Al Murawwi" userId="02aaa86e-b540-44be-b806-da09275ceef6" providerId="ADAL" clId="{9091FEF6-7E2D-41D1-A90E-2211FF5C775B}" dt="2025-03-06T03:39:37.980" v="212" actId="1037"/>
          <ac:spMkLst>
            <pc:docMk/>
            <pc:sldMk cId="4014685245" sldId="2147481231"/>
            <ac:spMk id="1114" creationId="{9C79C0BA-ECA4-6251-7BDA-44861479AB59}"/>
          </ac:spMkLst>
        </pc:spChg>
        <pc:grpChg chg="mod">
          <ac:chgData name="Esam Al Murawwi" userId="02aaa86e-b540-44be-b806-da09275ceef6" providerId="ADAL" clId="{9091FEF6-7E2D-41D1-A90E-2211FF5C775B}" dt="2025-03-06T03:39:49.868" v="253" actId="1037"/>
          <ac:grpSpMkLst>
            <pc:docMk/>
            <pc:sldMk cId="4014685245" sldId="2147481231"/>
            <ac:grpSpMk id="24" creationId="{7D2B0F4F-7538-2A7E-2B1D-C7490E12504A}"/>
          </ac:grpSpMkLst>
        </pc:grpChg>
        <pc:graphicFrameChg chg="mod modGraphic">
          <ac:chgData name="Esam Al Murawwi" userId="02aaa86e-b540-44be-b806-da09275ceef6" providerId="ADAL" clId="{9091FEF6-7E2D-41D1-A90E-2211FF5C775B}" dt="2025-03-06T03:40:18.950" v="257" actId="14734"/>
          <ac:graphicFrameMkLst>
            <pc:docMk/>
            <pc:sldMk cId="4014685245" sldId="2147481231"/>
            <ac:graphicFrameMk id="8" creationId="{05550516-049F-AE40-7162-5F639A7E12F0}"/>
          </ac:graphicFrameMkLst>
        </pc:graphicFrameChg>
        <pc:graphicFrameChg chg="mod modGraphic">
          <ac:chgData name="Esam Al Murawwi" userId="02aaa86e-b540-44be-b806-da09275ceef6" providerId="ADAL" clId="{9091FEF6-7E2D-41D1-A90E-2211FF5C775B}" dt="2025-03-06T03:39:16.609" v="167" actId="14100"/>
          <ac:graphicFrameMkLst>
            <pc:docMk/>
            <pc:sldMk cId="4014685245" sldId="2147481231"/>
            <ac:graphicFrameMk id="10" creationId="{CE5DC9EF-B7C0-DA3A-1097-7B3070BE649F}"/>
          </ac:graphicFrameMkLst>
        </pc:graphicFrameChg>
        <pc:graphicFrameChg chg="mod">
          <ac:chgData name="Esam Al Murawwi" userId="02aaa86e-b540-44be-b806-da09275ceef6" providerId="ADAL" clId="{9091FEF6-7E2D-41D1-A90E-2211FF5C775B}" dt="2025-03-06T03:39:29.606" v="191" actId="1037"/>
          <ac:graphicFrameMkLst>
            <pc:docMk/>
            <pc:sldMk cId="4014685245" sldId="2147481231"/>
            <ac:graphicFrameMk id="15" creationId="{0E7CBEA2-E38B-CC0E-B74B-1BE40C463F43}"/>
          </ac:graphicFrameMkLst>
        </pc:graphicFrameChg>
      </pc:sldChg>
      <pc:sldChg chg="addSp delSp modSp mod">
        <pc:chgData name="Esam Al Murawwi" userId="02aaa86e-b540-44be-b806-da09275ceef6" providerId="ADAL" clId="{9091FEF6-7E2D-41D1-A90E-2211FF5C775B}" dt="2025-03-06T03:37:39.600" v="151" actId="20577"/>
        <pc:sldMkLst>
          <pc:docMk/>
          <pc:sldMk cId="1221362229" sldId="2147481232"/>
        </pc:sldMkLst>
        <pc:spChg chg="add mod">
          <ac:chgData name="Esam Al Murawwi" userId="02aaa86e-b540-44be-b806-da09275ceef6" providerId="ADAL" clId="{9091FEF6-7E2D-41D1-A90E-2211FF5C775B}" dt="2025-03-06T03:32:30.888" v="11" actId="207"/>
          <ac:spMkLst>
            <pc:docMk/>
            <pc:sldMk cId="1221362229" sldId="2147481232"/>
            <ac:spMk id="10" creationId="{BBCEE1EB-85B7-46BB-F15C-2A86C954DB8E}"/>
          </ac:spMkLst>
        </pc:spChg>
        <pc:spChg chg="add mod">
          <ac:chgData name="Esam Al Murawwi" userId="02aaa86e-b540-44be-b806-da09275ceef6" providerId="ADAL" clId="{9091FEF6-7E2D-41D1-A90E-2211FF5C775B}" dt="2025-03-06T03:34:45.201" v="77" actId="1038"/>
          <ac:spMkLst>
            <pc:docMk/>
            <pc:sldMk cId="1221362229" sldId="2147481232"/>
            <ac:spMk id="11" creationId="{849BD821-F1C4-FED8-A9A6-2AC75B9A9534}"/>
          </ac:spMkLst>
        </pc:spChg>
        <pc:spChg chg="add mod">
          <ac:chgData name="Esam Al Murawwi" userId="02aaa86e-b540-44be-b806-da09275ceef6" providerId="ADAL" clId="{9091FEF6-7E2D-41D1-A90E-2211FF5C775B}" dt="2025-03-06T03:34:59.753" v="100" actId="1037"/>
          <ac:spMkLst>
            <pc:docMk/>
            <pc:sldMk cId="1221362229" sldId="2147481232"/>
            <ac:spMk id="12" creationId="{4767BFE1-0249-D83E-8862-1C74969893D6}"/>
          </ac:spMkLst>
        </pc:spChg>
        <pc:spChg chg="add mod">
          <ac:chgData name="Esam Al Murawwi" userId="02aaa86e-b540-44be-b806-da09275ceef6" providerId="ADAL" clId="{9091FEF6-7E2D-41D1-A90E-2211FF5C775B}" dt="2025-03-06T03:34:52.771" v="88" actId="14100"/>
          <ac:spMkLst>
            <pc:docMk/>
            <pc:sldMk cId="1221362229" sldId="2147481232"/>
            <ac:spMk id="13" creationId="{B13F8DF2-6389-6117-2BF6-6BEE4E5B037F}"/>
          </ac:spMkLst>
        </pc:spChg>
        <pc:spChg chg="add mod">
          <ac:chgData name="Esam Al Murawwi" userId="02aaa86e-b540-44be-b806-da09275ceef6" providerId="ADAL" clId="{9091FEF6-7E2D-41D1-A90E-2211FF5C775B}" dt="2025-03-06T03:34:42.513" v="69" actId="14100"/>
          <ac:spMkLst>
            <pc:docMk/>
            <pc:sldMk cId="1221362229" sldId="2147481232"/>
            <ac:spMk id="14" creationId="{156F21C2-BBE9-8C8E-EFFE-90E3A6E7D8C4}"/>
          </ac:spMkLst>
        </pc:spChg>
        <pc:spChg chg="add mod">
          <ac:chgData name="Esam Al Murawwi" userId="02aaa86e-b540-44be-b806-da09275ceef6" providerId="ADAL" clId="{9091FEF6-7E2D-41D1-A90E-2211FF5C775B}" dt="2025-03-06T03:34:26.239" v="66" actId="255"/>
          <ac:spMkLst>
            <pc:docMk/>
            <pc:sldMk cId="1221362229" sldId="2147481232"/>
            <ac:spMk id="15" creationId="{3B79E003-87F8-554C-CD6D-2163805FD2A9}"/>
          </ac:spMkLst>
        </pc:spChg>
        <pc:graphicFrameChg chg="add mod modGraphic">
          <ac:chgData name="Esam Al Murawwi" userId="02aaa86e-b540-44be-b806-da09275ceef6" providerId="ADAL" clId="{9091FEF6-7E2D-41D1-A90E-2211FF5C775B}" dt="2025-03-06T03:37:27.968" v="149" actId="1076"/>
          <ac:graphicFrameMkLst>
            <pc:docMk/>
            <pc:sldMk cId="1221362229" sldId="2147481232"/>
            <ac:graphicFrameMk id="2" creationId="{12BB7CC7-694F-AA0D-50D2-D7EA361BF462}"/>
          </ac:graphicFrameMkLst>
        </pc:graphicFrameChg>
      </pc:sldChg>
      <pc:sldChg chg="modSp mod">
        <pc:chgData name="Esam Al Murawwi" userId="02aaa86e-b540-44be-b806-da09275ceef6" providerId="ADAL" clId="{9091FEF6-7E2D-41D1-A90E-2211FF5C775B}" dt="2025-03-06T03:40:53.409" v="267" actId="20577"/>
        <pc:sldMkLst>
          <pc:docMk/>
          <pc:sldMk cId="269491010" sldId="2147481233"/>
        </pc:sldMkLst>
      </pc:sldChg>
      <pc:sldChg chg="modSp mod">
        <pc:chgData name="Esam Al Murawwi" userId="02aaa86e-b540-44be-b806-da09275ceef6" providerId="ADAL" clId="{9091FEF6-7E2D-41D1-A90E-2211FF5C775B}" dt="2025-03-06T03:36:08.648" v="132" actId="113"/>
        <pc:sldMkLst>
          <pc:docMk/>
          <pc:sldMk cId="3714057606" sldId="2147481238"/>
        </pc:sldMkLst>
      </pc:sldChg>
    </pc:docChg>
  </pc:docChgLst>
  <pc:docChgLst>
    <pc:chgData name="Nabeel Dastgir" userId="8b997b98-987f-43a6-83c6-096155f157e5" providerId="ADAL" clId="{9F253ED3-F4D7-4222-B18F-F3EA38E1DC23}"/>
    <pc:docChg chg="custSel modSld modMainMaster">
      <pc:chgData name="Nabeel Dastgir" userId="8b997b98-987f-43a6-83c6-096155f157e5" providerId="ADAL" clId="{9F253ED3-F4D7-4222-B18F-F3EA38E1DC23}" dt="2025-03-12T06:58:52.645" v="381"/>
      <pc:docMkLst>
        <pc:docMk/>
      </pc:docMkLst>
      <pc:sldChg chg="addSp delSp modSp mod">
        <pc:chgData name="Nabeel Dastgir" userId="8b997b98-987f-43a6-83c6-096155f157e5" providerId="ADAL" clId="{9F253ED3-F4D7-4222-B18F-F3EA38E1DC23}" dt="2025-03-12T06:58:41.068" v="287"/>
        <pc:sldMkLst>
          <pc:docMk/>
          <pc:sldMk cId="374239166" sldId="272"/>
        </pc:sldMkLst>
        <pc:graphicFrameChg chg="mod">
          <ac:chgData name="Nabeel Dastgir" userId="8b997b98-987f-43a6-83c6-096155f157e5" providerId="ADAL" clId="{9F253ED3-F4D7-4222-B18F-F3EA38E1DC23}" dt="2025-03-12T06:58:41.068" v="287"/>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9F253ED3-F4D7-4222-B18F-F3EA38E1DC23}" dt="2025-03-12T06:56:35.414" v="141"/>
        <pc:sldMkLst>
          <pc:docMk/>
          <pc:sldMk cId="3440684613" sldId="2147376831"/>
        </pc:sldMkLst>
        <pc:spChg chg="mod">
          <ac:chgData name="Nabeel Dastgir" userId="8b997b98-987f-43a6-83c6-096155f157e5" providerId="ADAL" clId="{9F253ED3-F4D7-4222-B18F-F3EA38E1DC23}" dt="2025-03-12T06:56:35.388" v="116" actId="948"/>
          <ac:spMkLst>
            <pc:docMk/>
            <pc:sldMk cId="3440684613" sldId="2147376831"/>
            <ac:spMk id="4" creationId="{FF10E8DA-4CAF-F96C-6E64-A81849CD287F}"/>
          </ac:spMkLst>
        </pc:spChg>
        <pc:graphicFrameChg chg="mod">
          <ac:chgData name="Nabeel Dastgir" userId="8b997b98-987f-43a6-83c6-096155f157e5" providerId="ADAL" clId="{9F253ED3-F4D7-4222-B18F-F3EA38E1DC23}" dt="2025-03-12T06:56:35.414" v="141"/>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9F253ED3-F4D7-4222-B18F-F3EA38E1DC23}" dt="2025-03-12T06:58:24.764" v="234"/>
        <pc:sldMkLst>
          <pc:docMk/>
          <pc:sldMk cId="4014685245" sldId="2147481231"/>
        </pc:sldMkLst>
        <pc:graphicFrameChg chg="mod">
          <ac:chgData name="Nabeel Dastgir" userId="8b997b98-987f-43a6-83c6-096155f157e5" providerId="ADAL" clId="{9F253ED3-F4D7-4222-B18F-F3EA38E1DC23}" dt="2025-03-12T06:58:24.764" v="234"/>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9F253ED3-F4D7-4222-B18F-F3EA38E1DC23}" dt="2025-03-12T06:58:34.065" v="260"/>
        <pc:sldMkLst>
          <pc:docMk/>
          <pc:sldMk cId="1221362229" sldId="2147481232"/>
        </pc:sldMkLst>
        <pc:graphicFrameChg chg="mod">
          <ac:chgData name="Nabeel Dastgir" userId="8b997b98-987f-43a6-83c6-096155f157e5" providerId="ADAL" clId="{9F253ED3-F4D7-4222-B18F-F3EA38E1DC23}" dt="2025-03-12T06:58:34.065" v="260"/>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9F253ED3-F4D7-4222-B18F-F3EA38E1DC23}" dt="2025-03-12T06:58:36.672" v="261"/>
        <pc:sldMkLst>
          <pc:docMk/>
          <pc:sldMk cId="2281522627" sldId="2147481236"/>
        </pc:sldMkLst>
      </pc:sldChg>
      <pc:sldChg chg="addSp delSp modSp mod">
        <pc:chgData name="Nabeel Dastgir" userId="8b997b98-987f-43a6-83c6-096155f157e5" providerId="ADAL" clId="{9F253ED3-F4D7-4222-B18F-F3EA38E1DC23}" dt="2025-03-12T06:58:52.645" v="381"/>
        <pc:sldMkLst>
          <pc:docMk/>
          <pc:sldMk cId="3714057606" sldId="2147481238"/>
        </pc:sldMkLst>
        <pc:graphicFrameChg chg="mod">
          <ac:chgData name="Nabeel Dastgir" userId="8b997b98-987f-43a6-83c6-096155f157e5" providerId="ADAL" clId="{9F253ED3-F4D7-4222-B18F-F3EA38E1DC23}" dt="2025-03-12T06:58:52.645" v="381"/>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9F253ED3-F4D7-4222-B18F-F3EA38E1DC23}" dt="2025-03-12T06:58:48.545" v="355"/>
        <pc:sldMkLst>
          <pc:docMk/>
          <pc:sldMk cId="1431349737" sldId="2147481239"/>
        </pc:sldMkLst>
        <pc:graphicFrameChg chg="mod">
          <ac:chgData name="Nabeel Dastgir" userId="8b997b98-987f-43a6-83c6-096155f157e5" providerId="ADAL" clId="{9F253ED3-F4D7-4222-B18F-F3EA38E1DC23}" dt="2025-03-12T06:58:48.545" v="355"/>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9F253ED3-F4D7-4222-B18F-F3EA38E1DC23}" dt="2025-03-12T06:56:44.382" v="168"/>
        <pc:sldMkLst>
          <pc:docMk/>
          <pc:sldMk cId="2205968895" sldId="2147481241"/>
        </pc:sldMkLst>
      </pc:sldChg>
      <pc:sldChg chg="addSp delSp modSp mod">
        <pc:chgData name="Nabeel Dastgir" userId="8b997b98-987f-43a6-83c6-096155f157e5" providerId="ADAL" clId="{9F253ED3-F4D7-4222-B18F-F3EA38E1DC23}" dt="2025-03-12T06:58:45.443" v="329"/>
        <pc:sldMkLst>
          <pc:docMk/>
          <pc:sldMk cId="3299405138" sldId="2147481253"/>
        </pc:sldMkLst>
      </pc:sldChg>
      <pc:sldMasterChg chg="modSldLayout sldLayoutOrd">
        <pc:chgData name="Nabeel Dastgir" userId="8b997b98-987f-43a6-83c6-096155f157e5" providerId="ADAL" clId="{9F253ED3-F4D7-4222-B18F-F3EA38E1DC23}" dt="2025-03-12T06:57:42.988" v="208" actId="20578"/>
        <pc:sldMasterMkLst>
          <pc:docMk/>
          <pc:sldMasterMk cId="1472398901" sldId="2147483660"/>
        </pc:sldMasterMkLst>
        <pc:sldLayoutChg chg="addSp delSp modSp mod ord">
          <pc:chgData name="Nabeel Dastgir" userId="8b997b98-987f-43a6-83c6-096155f157e5" providerId="ADAL" clId="{9F253ED3-F4D7-4222-B18F-F3EA38E1DC23}" dt="2025-03-12T06:57:42.988" v="208" actId="20578"/>
          <pc:sldLayoutMkLst>
            <pc:docMk/>
            <pc:sldMasterMk cId="1472398901" sldId="2147483660"/>
            <pc:sldLayoutMk cId="191041612" sldId="2147483707"/>
          </pc:sldLayoutMkLst>
          <pc:graphicFrameChg chg="add mod ord modVis">
            <ac:chgData name="Nabeel Dastgir" userId="8b997b98-987f-43a6-83c6-096155f157e5" providerId="ADAL" clId="{9F253ED3-F4D7-4222-B18F-F3EA38E1DC23}" dt="2025-03-12T06:57:00.708" v="206"/>
            <ac:graphicFrameMkLst>
              <pc:docMk/>
              <pc:sldMasterMk cId="1472398901" sldId="2147483660"/>
              <pc:sldLayoutMk cId="191041612" sldId="2147483707"/>
              <ac:graphicFrameMk id="3" creationId="{EB40400E-0CC2-7538-B899-F34BFCD14262}"/>
            </ac:graphicFrameMkLst>
          </pc:graphicFrameChg>
        </pc:sldLayoutChg>
      </pc:sldMasterChg>
    </pc:docChg>
  </pc:docChgLst>
  <pc:docChgLst>
    <pc:chgData name="Nikhil Kumar Laxmi Chandra Jha" userId="S::ne015239@transco.ae::ddde9457-c3ef-4fd2-8a2a-a71426930753" providerId="AD" clId="Web-{7B51AEAC-EE8D-ECEA-4E40-64F236978511}"/>
    <pc:docChg chg="addSld modSld">
      <pc:chgData name="Nikhil Kumar Laxmi Chandra Jha" userId="S::ne015239@transco.ae::ddde9457-c3ef-4fd2-8a2a-a71426930753" providerId="AD" clId="Web-{7B51AEAC-EE8D-ECEA-4E40-64F236978511}" dt="2025-04-15T05:41:07.804" v="88" actId="1076"/>
      <pc:docMkLst>
        <pc:docMk/>
      </pc:docMkLst>
      <pc:sldChg chg="modSp">
        <pc:chgData name="Nikhil Kumar Laxmi Chandra Jha" userId="S::ne015239@transco.ae::ddde9457-c3ef-4fd2-8a2a-a71426930753" providerId="AD" clId="Web-{7B51AEAC-EE8D-ECEA-4E40-64F236978511}" dt="2025-04-15T05:40:29.804" v="56"/>
        <pc:sldMkLst>
          <pc:docMk/>
          <pc:sldMk cId="4014685245" sldId="2147481231"/>
        </pc:sldMkLst>
        <pc:graphicFrameChg chg="mod modGraphic">
          <ac:chgData name="Nikhil Kumar Laxmi Chandra Jha" userId="S::ne015239@transco.ae::ddde9457-c3ef-4fd2-8a2a-a71426930753" providerId="AD" clId="Web-{7B51AEAC-EE8D-ECEA-4E40-64F236978511}" dt="2025-04-15T05:40:29.804" v="56"/>
          <ac:graphicFrameMkLst>
            <pc:docMk/>
            <pc:sldMk cId="4014685245" sldId="2147481231"/>
            <ac:graphicFrameMk id="5" creationId="{D3A71F0B-BE76-9F64-D314-DA16AEF390B3}"/>
          </ac:graphicFrameMkLst>
        </pc:graphicFrameChg>
        <pc:graphicFrameChg chg="mod modGraphic">
          <ac:chgData name="Nikhil Kumar Laxmi Chandra Jha" userId="S::ne015239@transco.ae::ddde9457-c3ef-4fd2-8a2a-a71426930753" providerId="AD" clId="Web-{7B51AEAC-EE8D-ECEA-4E40-64F236978511}" dt="2025-04-15T05:34:28.751" v="1"/>
          <ac:graphicFrameMkLst>
            <pc:docMk/>
            <pc:sldMk cId="4014685245" sldId="2147481231"/>
            <ac:graphicFrameMk id="7" creationId="{83BEFF3F-CFD4-BD64-296E-136E9DE32DB4}"/>
          </ac:graphicFrameMkLst>
        </pc:graphicFrameChg>
      </pc:sldChg>
      <pc:sldChg chg="addSp delSp modSp">
        <pc:chgData name="Nikhil Kumar Laxmi Chandra Jha" userId="S::ne015239@transco.ae::ddde9457-c3ef-4fd2-8a2a-a71426930753" providerId="AD" clId="Web-{7B51AEAC-EE8D-ECEA-4E40-64F236978511}" dt="2025-04-15T05:37:57.442" v="45" actId="20577"/>
        <pc:sldMkLst>
          <pc:docMk/>
          <pc:sldMk cId="3714057606" sldId="2147481238"/>
        </pc:sldMkLst>
      </pc:sldChg>
      <pc:sldChg chg="addSp delSp modSp add replId">
        <pc:chgData name="Nikhil Kumar Laxmi Chandra Jha" userId="S::ne015239@transco.ae::ddde9457-c3ef-4fd2-8a2a-a71426930753" providerId="AD" clId="Web-{7B51AEAC-EE8D-ECEA-4E40-64F236978511}" dt="2025-04-15T05:41:07.804" v="88" actId="1076"/>
        <pc:sldMkLst>
          <pc:docMk/>
          <pc:sldMk cId="2790156800" sldId="2147481254"/>
        </pc:sldMkLst>
      </pc:sldChg>
    </pc:docChg>
  </pc:docChgLst>
  <pc:docChgLst>
    <pc:chgData name="Nabeel Dastgir" userId="8b997b98-987f-43a6-83c6-096155f157e5" providerId="ADAL" clId="{5910DE60-A7A3-4A25-8931-D932E36FF467}"/>
    <pc:docChg chg="undo custSel addSld delSld modSld">
      <pc:chgData name="Nabeel Dastgir" userId="8b997b98-987f-43a6-83c6-096155f157e5" providerId="ADAL" clId="{5910DE60-A7A3-4A25-8931-D932E36FF467}" dt="2025-05-19T10:51:12.910" v="6072"/>
      <pc:docMkLst>
        <pc:docMk/>
      </pc:docMkLst>
      <pc:sldChg chg="delSp modSp mod">
        <pc:chgData name="Nabeel Dastgir" userId="8b997b98-987f-43a6-83c6-096155f157e5" providerId="ADAL" clId="{5910DE60-A7A3-4A25-8931-D932E36FF467}" dt="2025-05-19T10:11:48.336" v="66" actId="20577"/>
        <pc:sldMkLst>
          <pc:docMk/>
          <pc:sldMk cId="374239166" sldId="272"/>
        </pc:sldMkLst>
        <pc:graphicFrameChg chg="mod modGraphic">
          <ac:chgData name="Nabeel Dastgir" userId="8b997b98-987f-43a6-83c6-096155f157e5" providerId="ADAL" clId="{5910DE60-A7A3-4A25-8931-D932E36FF467}" dt="2025-05-19T10:11:48.336" v="66" actId="20577"/>
          <ac:graphicFrameMkLst>
            <pc:docMk/>
            <pc:sldMk cId="374239166" sldId="272"/>
            <ac:graphicFrameMk id="11" creationId="{D2B3DED6-A302-2DF7-F1BE-7CA07A0A15C2}"/>
          </ac:graphicFrameMkLst>
        </pc:graphicFrameChg>
      </pc:sldChg>
      <pc:sldChg chg="modSp mod">
        <pc:chgData name="Nabeel Dastgir" userId="8b997b98-987f-43a6-83c6-096155f157e5" providerId="ADAL" clId="{5910DE60-A7A3-4A25-8931-D932E36FF467}" dt="2025-05-19T10:06:31.621" v="9" actId="20577"/>
        <pc:sldMkLst>
          <pc:docMk/>
          <pc:sldMk cId="3440684613" sldId="2147376831"/>
        </pc:sldMkLst>
        <pc:spChg chg="mod">
          <ac:chgData name="Nabeel Dastgir" userId="8b997b98-987f-43a6-83c6-096155f157e5" providerId="ADAL" clId="{5910DE60-A7A3-4A25-8931-D932E36FF467}" dt="2025-05-19T10:06:31.621" v="9" actId="20577"/>
          <ac:spMkLst>
            <pc:docMk/>
            <pc:sldMk cId="3440684613" sldId="2147376831"/>
            <ac:spMk id="5" creationId="{97F46F66-3558-3216-CC82-56F6D3F6E8C2}"/>
          </ac:spMkLst>
        </pc:spChg>
      </pc:sldChg>
      <pc:sldChg chg="modSp mod">
        <pc:chgData name="Nabeel Dastgir" userId="8b997b98-987f-43a6-83c6-096155f157e5" providerId="ADAL" clId="{5910DE60-A7A3-4A25-8931-D932E36FF467}" dt="2025-05-19T10:09:47.724" v="42" actId="14100"/>
        <pc:sldMkLst>
          <pc:docMk/>
          <pc:sldMk cId="3118403372" sldId="2147480444"/>
        </pc:sldMkLst>
        <pc:spChg chg="mod">
          <ac:chgData name="Nabeel Dastgir" userId="8b997b98-987f-43a6-83c6-096155f157e5" providerId="ADAL" clId="{5910DE60-A7A3-4A25-8931-D932E36FF467}" dt="2025-05-19T10:09:47.724" v="42" actId="14100"/>
          <ac:spMkLst>
            <pc:docMk/>
            <pc:sldMk cId="3118403372" sldId="2147480444"/>
            <ac:spMk id="41" creationId="{0A593F29-764C-6274-517D-AB5B0ECAEB88}"/>
          </ac:spMkLst>
        </pc:spChg>
      </pc:sldChg>
      <pc:sldChg chg="addSp delSp modSp mod">
        <pc:chgData name="Nabeel Dastgir" userId="8b997b98-987f-43a6-83c6-096155f157e5" providerId="ADAL" clId="{5910DE60-A7A3-4A25-8931-D932E36FF467}" dt="2025-05-19T10:09:39.281" v="41"/>
        <pc:sldMkLst>
          <pc:docMk/>
          <pc:sldMk cId="1221362229" sldId="2147481232"/>
        </pc:sldMkLst>
        <pc:graphicFrameChg chg="mod modGraphic">
          <ac:chgData name="Nabeel Dastgir" userId="8b997b98-987f-43a6-83c6-096155f157e5" providerId="ADAL" clId="{5910DE60-A7A3-4A25-8931-D932E36FF467}" dt="2025-05-19T10:09:31.142" v="39" actId="572"/>
          <ac:graphicFrameMkLst>
            <pc:docMk/>
            <pc:sldMk cId="1221362229" sldId="2147481232"/>
            <ac:graphicFrameMk id="2" creationId="{12BB7CC7-694F-AA0D-50D2-D7EA361BF462}"/>
          </ac:graphicFrameMkLst>
        </pc:graphicFrameChg>
      </pc:sldChg>
      <pc:sldChg chg="delSp mod">
        <pc:chgData name="Nabeel Dastgir" userId="8b997b98-987f-43a6-83c6-096155f157e5" providerId="ADAL" clId="{5910DE60-A7A3-4A25-8931-D932E36FF467}" dt="2025-05-19T10:10:11.975" v="44" actId="478"/>
        <pc:sldMkLst>
          <pc:docMk/>
          <pc:sldMk cId="3714057606" sldId="2147481238"/>
        </pc:sldMkLst>
      </pc:sldChg>
      <pc:sldChg chg="delSp mod">
        <pc:chgData name="Nabeel Dastgir" userId="8b997b98-987f-43a6-83c6-096155f157e5" providerId="ADAL" clId="{5910DE60-A7A3-4A25-8931-D932E36FF467}" dt="2025-05-19T10:10:09.954" v="43" actId="478"/>
        <pc:sldMkLst>
          <pc:docMk/>
          <pc:sldMk cId="1431349737" sldId="2147481239"/>
        </pc:sldMkLst>
      </pc:sldChg>
      <pc:sldChg chg="delSp mod">
        <pc:chgData name="Nabeel Dastgir" userId="8b997b98-987f-43a6-83c6-096155f157e5" providerId="ADAL" clId="{5910DE60-A7A3-4A25-8931-D932E36FF467}" dt="2025-05-19T10:06:36.744" v="10" actId="478"/>
        <pc:sldMkLst>
          <pc:docMk/>
          <pc:sldMk cId="2205968895" sldId="2147481241"/>
        </pc:sldMkLst>
      </pc:sldChg>
      <pc:sldChg chg="addSp delSp modSp del mod">
        <pc:chgData name="Nabeel Dastgir" userId="8b997b98-987f-43a6-83c6-096155f157e5" providerId="ADAL" clId="{5910DE60-A7A3-4A25-8931-D932E36FF467}" dt="2025-05-19T10:51:08.027" v="5897" actId="2696"/>
        <pc:sldMkLst>
          <pc:docMk/>
          <pc:sldMk cId="3299405138" sldId="2147481253"/>
        </pc:sldMkLst>
      </pc:sldChg>
      <pc:sldChg chg="addSp delSp modSp add mod">
        <pc:chgData name="Nabeel Dastgir" userId="8b997b98-987f-43a6-83c6-096155f157e5" providerId="ADAL" clId="{5910DE60-A7A3-4A25-8931-D932E36FF467}" dt="2025-05-19T10:51:12.910" v="6072"/>
        <pc:sldMkLst>
          <pc:docMk/>
          <pc:sldMk cId="2185637154" sldId="2147481254"/>
        </pc:sldMkLst>
        <pc:spChg chg="mod ord">
          <ac:chgData name="Nabeel Dastgir" userId="8b997b98-987f-43a6-83c6-096155f157e5" providerId="ADAL" clId="{5910DE60-A7A3-4A25-8931-D932E36FF467}" dt="2025-05-19T10:51:12.892" v="6023"/>
          <ac:spMkLst>
            <pc:docMk/>
            <pc:sldMk cId="2185637154" sldId="2147481254"/>
            <ac:spMk id="2" creationId="{DD2A27D7-D7EA-E14A-239F-CC195626799F}"/>
          </ac:spMkLst>
        </pc:spChg>
        <pc:spChg chg="mod ord">
          <ac:chgData name="Nabeel Dastgir" userId="8b997b98-987f-43a6-83c6-096155f157e5" providerId="ADAL" clId="{5910DE60-A7A3-4A25-8931-D932E36FF467}" dt="2025-05-19T10:51:12.892" v="6021"/>
          <ac:spMkLst>
            <pc:docMk/>
            <pc:sldMk cId="2185637154" sldId="2147481254"/>
            <ac:spMk id="4" creationId="{C26E185E-8BDB-818B-D3C5-2951CA7BDB73}"/>
          </ac:spMkLst>
        </pc:spChg>
        <pc:spChg chg="mod ord">
          <ac:chgData name="Nabeel Dastgir" userId="8b997b98-987f-43a6-83c6-096155f157e5" providerId="ADAL" clId="{5910DE60-A7A3-4A25-8931-D932E36FF467}" dt="2025-05-19T10:51:12.908" v="6068"/>
          <ac:spMkLst>
            <pc:docMk/>
            <pc:sldMk cId="2185637154" sldId="2147481254"/>
            <ac:spMk id="8" creationId="{9D2F9977-7D11-B8FB-C2C3-1E5DAA287F95}"/>
          </ac:spMkLst>
        </pc:spChg>
        <pc:spChg chg="mod ord">
          <ac:chgData name="Nabeel Dastgir" userId="8b997b98-987f-43a6-83c6-096155f157e5" providerId="ADAL" clId="{5910DE60-A7A3-4A25-8931-D932E36FF467}" dt="2025-05-19T10:51:12.891" v="6019"/>
          <ac:spMkLst>
            <pc:docMk/>
            <pc:sldMk cId="2185637154" sldId="2147481254"/>
            <ac:spMk id="9" creationId="{7F53AE9F-838A-FC7E-BC35-6AF817DDAE87}"/>
          </ac:spMkLst>
        </pc:spChg>
        <pc:spChg chg="mod">
          <ac:chgData name="Nabeel Dastgir" userId="8b997b98-987f-43a6-83c6-096155f157e5" providerId="ADAL" clId="{5910DE60-A7A3-4A25-8931-D932E36FF467}" dt="2025-05-19T10:51:12.901" v="6048"/>
          <ac:spMkLst>
            <pc:docMk/>
            <pc:sldMk cId="2185637154" sldId="2147481254"/>
            <ac:spMk id="23" creationId="{EB15AD29-5B2E-3CFD-8E42-7105196A4DF1}"/>
          </ac:spMkLst>
        </pc:spChg>
        <pc:spChg chg="mod">
          <ac:chgData name="Nabeel Dastgir" userId="8b997b98-987f-43a6-83c6-096155f157e5" providerId="ADAL" clId="{5910DE60-A7A3-4A25-8931-D932E36FF467}" dt="2025-05-19T10:51:12.897" v="6036"/>
          <ac:spMkLst>
            <pc:docMk/>
            <pc:sldMk cId="2185637154" sldId="2147481254"/>
            <ac:spMk id="25" creationId="{D15BDA24-3F60-BE24-C5B9-DD4604BAB33B}"/>
          </ac:spMkLst>
        </pc:spChg>
        <pc:spChg chg="mod">
          <ac:chgData name="Nabeel Dastgir" userId="8b997b98-987f-43a6-83c6-096155f157e5" providerId="ADAL" clId="{5910DE60-A7A3-4A25-8931-D932E36FF467}" dt="2025-05-19T10:51:12.897" v="6037"/>
          <ac:spMkLst>
            <pc:docMk/>
            <pc:sldMk cId="2185637154" sldId="2147481254"/>
            <ac:spMk id="28" creationId="{CBD614D8-55B2-E1C9-5A99-2FC0F022F1C5}"/>
          </ac:spMkLst>
        </pc:spChg>
        <pc:spChg chg="mod">
          <ac:chgData name="Nabeel Dastgir" userId="8b997b98-987f-43a6-83c6-096155f157e5" providerId="ADAL" clId="{5910DE60-A7A3-4A25-8931-D932E36FF467}" dt="2025-05-19T10:51:12.897" v="6038"/>
          <ac:spMkLst>
            <pc:docMk/>
            <pc:sldMk cId="2185637154" sldId="2147481254"/>
            <ac:spMk id="31" creationId="{01E6C7E4-99CA-1B41-5C95-3BD4ED067756}"/>
          </ac:spMkLst>
        </pc:spChg>
        <pc:spChg chg="mod">
          <ac:chgData name="Nabeel Dastgir" userId="8b997b98-987f-43a6-83c6-096155f157e5" providerId="ADAL" clId="{5910DE60-A7A3-4A25-8931-D932E36FF467}" dt="2025-05-19T10:51:12.898" v="6039"/>
          <ac:spMkLst>
            <pc:docMk/>
            <pc:sldMk cId="2185637154" sldId="2147481254"/>
            <ac:spMk id="32" creationId="{144D62BE-3341-58AA-CF54-62505015A298}"/>
          </ac:spMkLst>
        </pc:spChg>
        <pc:spChg chg="mod">
          <ac:chgData name="Nabeel Dastgir" userId="8b997b98-987f-43a6-83c6-096155f157e5" providerId="ADAL" clId="{5910DE60-A7A3-4A25-8931-D932E36FF467}" dt="2025-05-19T10:51:12.898" v="6040"/>
          <ac:spMkLst>
            <pc:docMk/>
            <pc:sldMk cId="2185637154" sldId="2147481254"/>
            <ac:spMk id="33" creationId="{04B51CF4-59AA-7A10-3FDB-B8E65DFEB7C8}"/>
          </ac:spMkLst>
        </pc:spChg>
        <pc:spChg chg="mod">
          <ac:chgData name="Nabeel Dastgir" userId="8b997b98-987f-43a6-83c6-096155f157e5" providerId="ADAL" clId="{5910DE60-A7A3-4A25-8931-D932E36FF467}" dt="2025-05-19T10:51:12.898" v="6041"/>
          <ac:spMkLst>
            <pc:docMk/>
            <pc:sldMk cId="2185637154" sldId="2147481254"/>
            <ac:spMk id="34" creationId="{B03E71F8-16E6-5788-1817-F5A7CDD39D21}"/>
          </ac:spMkLst>
        </pc:spChg>
        <pc:spChg chg="mod">
          <ac:chgData name="Nabeel Dastgir" userId="8b997b98-987f-43a6-83c6-096155f157e5" providerId="ADAL" clId="{5910DE60-A7A3-4A25-8931-D932E36FF467}" dt="2025-05-19T10:51:12.899" v="6042"/>
          <ac:spMkLst>
            <pc:docMk/>
            <pc:sldMk cId="2185637154" sldId="2147481254"/>
            <ac:spMk id="35" creationId="{C7909F99-6C5D-4E72-5B6B-DFE8015E2D2E}"/>
          </ac:spMkLst>
        </pc:spChg>
        <pc:spChg chg="mod">
          <ac:chgData name="Nabeel Dastgir" userId="8b997b98-987f-43a6-83c6-096155f157e5" providerId="ADAL" clId="{5910DE60-A7A3-4A25-8931-D932E36FF467}" dt="2025-05-19T10:51:12.899" v="6043"/>
          <ac:spMkLst>
            <pc:docMk/>
            <pc:sldMk cId="2185637154" sldId="2147481254"/>
            <ac:spMk id="36" creationId="{AA5DDEDA-586F-9844-C212-94CB22B9B561}"/>
          </ac:spMkLst>
        </pc:spChg>
        <pc:spChg chg="mod">
          <ac:chgData name="Nabeel Dastgir" userId="8b997b98-987f-43a6-83c6-096155f157e5" providerId="ADAL" clId="{5910DE60-A7A3-4A25-8931-D932E36FF467}" dt="2025-05-19T10:51:12.900" v="6044"/>
          <ac:spMkLst>
            <pc:docMk/>
            <pc:sldMk cId="2185637154" sldId="2147481254"/>
            <ac:spMk id="37" creationId="{11967DF2-E7ED-81EE-7016-EA8EBC0383EA}"/>
          </ac:spMkLst>
        </pc:spChg>
        <pc:spChg chg="mod">
          <ac:chgData name="Nabeel Dastgir" userId="8b997b98-987f-43a6-83c6-096155f157e5" providerId="ADAL" clId="{5910DE60-A7A3-4A25-8931-D932E36FF467}" dt="2025-05-19T10:51:12.900" v="6045"/>
          <ac:spMkLst>
            <pc:docMk/>
            <pc:sldMk cId="2185637154" sldId="2147481254"/>
            <ac:spMk id="38" creationId="{246106C5-9475-A259-228E-360C73A71BF7}"/>
          </ac:spMkLst>
        </pc:spChg>
        <pc:spChg chg="mod">
          <ac:chgData name="Nabeel Dastgir" userId="8b997b98-987f-43a6-83c6-096155f157e5" providerId="ADAL" clId="{5910DE60-A7A3-4A25-8931-D932E36FF467}" dt="2025-05-19T10:51:12.900" v="6046"/>
          <ac:spMkLst>
            <pc:docMk/>
            <pc:sldMk cId="2185637154" sldId="2147481254"/>
            <ac:spMk id="39" creationId="{75486FD2-3891-484D-7863-421D12E16AAF}"/>
          </ac:spMkLst>
        </pc:spChg>
        <pc:spChg chg="mod">
          <ac:chgData name="Nabeel Dastgir" userId="8b997b98-987f-43a6-83c6-096155f157e5" providerId="ADAL" clId="{5910DE60-A7A3-4A25-8931-D932E36FF467}" dt="2025-05-19T10:51:12.901" v="6047"/>
          <ac:spMkLst>
            <pc:docMk/>
            <pc:sldMk cId="2185637154" sldId="2147481254"/>
            <ac:spMk id="40" creationId="{8A1031FE-EB23-1EEF-A5B4-A4BC2D366815}"/>
          </ac:spMkLst>
        </pc:spChg>
        <pc:spChg chg="mod">
          <ac:chgData name="Nabeel Dastgir" userId="8b997b98-987f-43a6-83c6-096155f157e5" providerId="ADAL" clId="{5910DE60-A7A3-4A25-8931-D932E36FF467}" dt="2025-05-19T10:51:12.903" v="6052"/>
          <ac:spMkLst>
            <pc:docMk/>
            <pc:sldMk cId="2185637154" sldId="2147481254"/>
            <ac:spMk id="42" creationId="{320227A9-EE7D-A4F4-61FE-0EF955940628}"/>
          </ac:spMkLst>
        </pc:spChg>
        <pc:spChg chg="mod">
          <ac:chgData name="Nabeel Dastgir" userId="8b997b98-987f-43a6-83c6-096155f157e5" providerId="ADAL" clId="{5910DE60-A7A3-4A25-8931-D932E36FF467}" dt="2025-05-19T10:51:12.907" v="6063"/>
          <ac:spMkLst>
            <pc:docMk/>
            <pc:sldMk cId="2185637154" sldId="2147481254"/>
            <ac:spMk id="46" creationId="{6E0168BB-160F-4F94-F891-47AEEF03F9EE}"/>
          </ac:spMkLst>
        </pc:spChg>
        <pc:spChg chg="mod">
          <ac:chgData name="Nabeel Dastgir" userId="8b997b98-987f-43a6-83c6-096155f157e5" providerId="ADAL" clId="{5910DE60-A7A3-4A25-8931-D932E36FF467}" dt="2025-05-19T10:51:12.905" v="6059"/>
          <ac:spMkLst>
            <pc:docMk/>
            <pc:sldMk cId="2185637154" sldId="2147481254"/>
            <ac:spMk id="49" creationId="{8FE1A6B1-14B9-0B2F-F9D2-B00BE7CAA611}"/>
          </ac:spMkLst>
        </pc:spChg>
        <pc:spChg chg="mod">
          <ac:chgData name="Nabeel Dastgir" userId="8b997b98-987f-43a6-83c6-096155f157e5" providerId="ADAL" clId="{5910DE60-A7A3-4A25-8931-D932E36FF467}" dt="2025-05-19T10:51:12.902" v="6051"/>
          <ac:spMkLst>
            <pc:docMk/>
            <pc:sldMk cId="2185637154" sldId="2147481254"/>
            <ac:spMk id="50" creationId="{89DFFF3E-E035-3918-3F0C-0233EE135125}"/>
          </ac:spMkLst>
        </pc:spChg>
        <pc:spChg chg="mod">
          <ac:chgData name="Nabeel Dastgir" userId="8b997b98-987f-43a6-83c6-096155f157e5" providerId="ADAL" clId="{5910DE60-A7A3-4A25-8931-D932E36FF467}" dt="2025-05-19T10:51:12.907" v="6064"/>
          <ac:spMkLst>
            <pc:docMk/>
            <pc:sldMk cId="2185637154" sldId="2147481254"/>
            <ac:spMk id="52" creationId="{46F7525E-CA0F-44D2-CA4E-458FE998BF00}"/>
          </ac:spMkLst>
        </pc:spChg>
        <pc:spChg chg="mod">
          <ac:chgData name="Nabeel Dastgir" userId="8b997b98-987f-43a6-83c6-096155f157e5" providerId="ADAL" clId="{5910DE60-A7A3-4A25-8931-D932E36FF467}" dt="2025-05-19T10:51:12.907" v="6065"/>
          <ac:spMkLst>
            <pc:docMk/>
            <pc:sldMk cId="2185637154" sldId="2147481254"/>
            <ac:spMk id="53" creationId="{42EB698F-3766-854E-D8CB-F489AFCCC905}"/>
          </ac:spMkLst>
        </pc:spChg>
        <pc:spChg chg="mod">
          <ac:chgData name="Nabeel Dastgir" userId="8b997b98-987f-43a6-83c6-096155f157e5" providerId="ADAL" clId="{5910DE60-A7A3-4A25-8931-D932E36FF467}" dt="2025-05-19T10:51:12.902" v="6050"/>
          <ac:spMkLst>
            <pc:docMk/>
            <pc:sldMk cId="2185637154" sldId="2147481254"/>
            <ac:spMk id="55" creationId="{3C740CEB-45FB-6D3D-C428-7F815474F4C4}"/>
          </ac:spMkLst>
        </pc:spChg>
        <pc:spChg chg="mod">
          <ac:chgData name="Nabeel Dastgir" userId="8b997b98-987f-43a6-83c6-096155f157e5" providerId="ADAL" clId="{5910DE60-A7A3-4A25-8931-D932E36FF467}" dt="2025-05-19T10:51:12.905" v="6060"/>
          <ac:spMkLst>
            <pc:docMk/>
            <pc:sldMk cId="2185637154" sldId="2147481254"/>
            <ac:spMk id="56" creationId="{17E770E0-FF75-8137-AD73-189C4943FA9F}"/>
          </ac:spMkLst>
        </pc:spChg>
        <pc:spChg chg="mod">
          <ac:chgData name="Nabeel Dastgir" userId="8b997b98-987f-43a6-83c6-096155f157e5" providerId="ADAL" clId="{5910DE60-A7A3-4A25-8931-D932E36FF467}" dt="2025-05-19T10:51:12.906" v="6061"/>
          <ac:spMkLst>
            <pc:docMk/>
            <pc:sldMk cId="2185637154" sldId="2147481254"/>
            <ac:spMk id="57" creationId="{A2B02EFB-7CA1-896D-BF3E-58EA497A386E}"/>
          </ac:spMkLst>
        </pc:spChg>
        <pc:spChg chg="mod">
          <ac:chgData name="Nabeel Dastgir" userId="8b997b98-987f-43a6-83c6-096155f157e5" providerId="ADAL" clId="{5910DE60-A7A3-4A25-8931-D932E36FF467}" dt="2025-05-19T10:51:12.908" v="6066"/>
          <ac:spMkLst>
            <pc:docMk/>
            <pc:sldMk cId="2185637154" sldId="2147481254"/>
            <ac:spMk id="58" creationId="{A709F76A-AD43-C44C-246E-8883713B7BDB}"/>
          </ac:spMkLst>
        </pc:spChg>
        <pc:spChg chg="mod">
          <ac:chgData name="Nabeel Dastgir" userId="8b997b98-987f-43a6-83c6-096155f157e5" providerId="ADAL" clId="{5910DE60-A7A3-4A25-8931-D932E36FF467}" dt="2025-05-19T10:51:12.906" v="6062"/>
          <ac:spMkLst>
            <pc:docMk/>
            <pc:sldMk cId="2185637154" sldId="2147481254"/>
            <ac:spMk id="61" creationId="{B42B43B0-A750-F120-D233-7BD5F3B8BB89}"/>
          </ac:spMkLst>
        </pc:spChg>
        <pc:spChg chg="mod">
          <ac:chgData name="Nabeel Dastgir" userId="8b997b98-987f-43a6-83c6-096155f157e5" providerId="ADAL" clId="{5910DE60-A7A3-4A25-8931-D932E36FF467}" dt="2025-05-19T10:51:12.901" v="6049"/>
          <ac:spMkLst>
            <pc:docMk/>
            <pc:sldMk cId="2185637154" sldId="2147481254"/>
            <ac:spMk id="62" creationId="{A83E36A2-C8BC-3666-92A9-F55CC3827054}"/>
          </ac:spMkLst>
        </pc:spChg>
        <pc:spChg chg="add mod">
          <ac:chgData name="Nabeel Dastgir" userId="8b997b98-987f-43a6-83c6-096155f157e5" providerId="ADAL" clId="{5910DE60-A7A3-4A25-8931-D932E36FF467}" dt="2025-05-19T10:51:12.903" v="6053"/>
          <ac:spMkLst>
            <pc:docMk/>
            <pc:sldMk cId="2185637154" sldId="2147481254"/>
            <ac:spMk id="134" creationId="{720DDCED-E51B-BA2A-8876-060DE14B3A8F}"/>
          </ac:spMkLst>
        </pc:spChg>
        <pc:spChg chg="add mod">
          <ac:chgData name="Nabeel Dastgir" userId="8b997b98-987f-43a6-83c6-096155f157e5" providerId="ADAL" clId="{5910DE60-A7A3-4A25-8931-D932E36FF467}" dt="2025-05-19T10:51:12.903" v="6054"/>
          <ac:spMkLst>
            <pc:docMk/>
            <pc:sldMk cId="2185637154" sldId="2147481254"/>
            <ac:spMk id="151" creationId="{AE1F7E9D-A6F9-3B19-6535-4FC6CCF2EDA5}"/>
          </ac:spMkLst>
        </pc:spChg>
        <pc:spChg chg="add mod">
          <ac:chgData name="Nabeel Dastgir" userId="8b997b98-987f-43a6-83c6-096155f157e5" providerId="ADAL" clId="{5910DE60-A7A3-4A25-8931-D932E36FF467}" dt="2025-05-19T10:51:12.904" v="6055"/>
          <ac:spMkLst>
            <pc:docMk/>
            <pc:sldMk cId="2185637154" sldId="2147481254"/>
            <ac:spMk id="159" creationId="{EA1EC7EC-C63C-9BAF-62AF-046124DC8FBB}"/>
          </ac:spMkLst>
        </pc:spChg>
        <pc:spChg chg="add mod">
          <ac:chgData name="Nabeel Dastgir" userId="8b997b98-987f-43a6-83c6-096155f157e5" providerId="ADAL" clId="{5910DE60-A7A3-4A25-8931-D932E36FF467}" dt="2025-05-19T10:51:12.904" v="6056"/>
          <ac:spMkLst>
            <pc:docMk/>
            <pc:sldMk cId="2185637154" sldId="2147481254"/>
            <ac:spMk id="179" creationId="{D58277F5-7181-379B-6B31-3EC3E58A8FC9}"/>
          </ac:spMkLst>
        </pc:spChg>
        <pc:spChg chg="add mod ord">
          <ac:chgData name="Nabeel Dastgir" userId="8b997b98-987f-43a6-83c6-096155f157e5" providerId="ADAL" clId="{5910DE60-A7A3-4A25-8931-D932E36FF467}" dt="2025-05-19T10:51:12.894" v="6029"/>
          <ac:spMkLst>
            <pc:docMk/>
            <pc:sldMk cId="2185637154" sldId="2147481254"/>
            <ac:spMk id="224" creationId="{EE456335-FB66-FB3F-96E4-28CE99B9522F}"/>
          </ac:spMkLst>
        </pc:spChg>
        <pc:spChg chg="add mod ord">
          <ac:chgData name="Nabeel Dastgir" userId="8b997b98-987f-43a6-83c6-096155f157e5" providerId="ADAL" clId="{5910DE60-A7A3-4A25-8931-D932E36FF467}" dt="2025-05-19T10:51:12.895" v="6031"/>
          <ac:spMkLst>
            <pc:docMk/>
            <pc:sldMk cId="2185637154" sldId="2147481254"/>
            <ac:spMk id="225" creationId="{A3CF985D-0F2F-9095-D3D8-35A374B85BC5}"/>
          </ac:spMkLst>
        </pc:spChg>
        <pc:spChg chg="add mod">
          <ac:chgData name="Nabeel Dastgir" userId="8b997b98-987f-43a6-83c6-096155f157e5" providerId="ADAL" clId="{5910DE60-A7A3-4A25-8931-D932E36FF467}" dt="2025-05-19T10:51:12.893" v="6026"/>
          <ac:spMkLst>
            <pc:docMk/>
            <pc:sldMk cId="2185637154" sldId="2147481254"/>
            <ac:spMk id="226" creationId="{C02F8429-82E7-D129-21BD-C5005DDC2D05}"/>
          </ac:spMkLst>
        </pc:spChg>
        <pc:spChg chg="add mod">
          <ac:chgData name="Nabeel Dastgir" userId="8b997b98-987f-43a6-83c6-096155f157e5" providerId="ADAL" clId="{5910DE60-A7A3-4A25-8931-D932E36FF467}" dt="2025-05-19T10:51:12.904" v="6057"/>
          <ac:spMkLst>
            <pc:docMk/>
            <pc:sldMk cId="2185637154" sldId="2147481254"/>
            <ac:spMk id="228" creationId="{6DC7154F-3D3D-FBCB-8C8E-6199BDF614DC}"/>
          </ac:spMkLst>
        </pc:spChg>
        <pc:spChg chg="add mod ord">
          <ac:chgData name="Nabeel Dastgir" userId="8b997b98-987f-43a6-83c6-096155f157e5" providerId="ADAL" clId="{5910DE60-A7A3-4A25-8931-D932E36FF467}" dt="2025-05-19T10:51:12.895" v="6033"/>
          <ac:spMkLst>
            <pc:docMk/>
            <pc:sldMk cId="2185637154" sldId="2147481254"/>
            <ac:spMk id="239" creationId="{BA20A749-62F7-343B-67F5-32D3DAFE5CDE}"/>
          </ac:spMkLst>
        </pc:spChg>
        <pc:spChg chg="add mod ord">
          <ac:chgData name="Nabeel Dastgir" userId="8b997b98-987f-43a6-83c6-096155f157e5" providerId="ADAL" clId="{5910DE60-A7A3-4A25-8931-D932E36FF467}" dt="2025-05-19T10:51:12.896" v="6035"/>
          <ac:spMkLst>
            <pc:docMk/>
            <pc:sldMk cId="2185637154" sldId="2147481254"/>
            <ac:spMk id="240" creationId="{E75BDE33-24B2-280A-BBD7-866AA2321CE7}"/>
          </ac:spMkLst>
        </pc:spChg>
        <pc:spChg chg="add mod">
          <ac:chgData name="Nabeel Dastgir" userId="8b997b98-987f-43a6-83c6-096155f157e5" providerId="ADAL" clId="{5910DE60-A7A3-4A25-8931-D932E36FF467}" dt="2025-05-19T10:51:12.894" v="6027"/>
          <ac:spMkLst>
            <pc:docMk/>
            <pc:sldMk cId="2185637154" sldId="2147481254"/>
            <ac:spMk id="241" creationId="{1B15ED3F-149E-720A-F0AA-DAC89DF4AE32}"/>
          </ac:spMkLst>
        </pc:spChg>
        <pc:spChg chg="add mod">
          <ac:chgData name="Nabeel Dastgir" userId="8b997b98-987f-43a6-83c6-096155f157e5" providerId="ADAL" clId="{5910DE60-A7A3-4A25-8931-D932E36FF467}" dt="2025-05-19T10:51:12.905" v="6058"/>
          <ac:spMkLst>
            <pc:docMk/>
            <pc:sldMk cId="2185637154" sldId="2147481254"/>
            <ac:spMk id="242" creationId="{D8317BE5-EDD7-0C84-89E3-63633E12FAB6}"/>
          </ac:spMkLst>
        </pc:spChg>
        <pc:graphicFrameChg chg="mod">
          <ac:chgData name="Nabeel Dastgir" userId="8b997b98-987f-43a6-83c6-096155f157e5" providerId="ADAL" clId="{5910DE60-A7A3-4A25-8931-D932E36FF467}" dt="2025-05-19T10:51:12.910" v="6072"/>
          <ac:graphicFrameMkLst>
            <pc:docMk/>
            <pc:sldMk cId="2185637154" sldId="2147481254"/>
            <ac:graphicFrameMk id="7" creationId="{FFA937BA-DFA4-C637-50A7-8D04E5C32DE5}"/>
          </ac:graphicFrameMkLst>
        </pc:graphicFrameChg>
        <pc:graphicFrameChg chg="add mod ord">
          <ac:chgData name="Nabeel Dastgir" userId="8b997b98-987f-43a6-83c6-096155f157e5" providerId="ADAL" clId="{5910DE60-A7A3-4A25-8931-D932E36FF467}" dt="2025-05-19T10:51:12.893" v="6025"/>
          <ac:graphicFrameMkLst>
            <pc:docMk/>
            <pc:sldMk cId="2185637154" sldId="2147481254"/>
            <ac:graphicFrameMk id="244" creationId="{F04DDE88-DB5E-6779-87CD-BF2A9E29ADF4}"/>
          </ac:graphicFrameMkLst>
        </pc:graphicFrameChg>
      </pc:sldChg>
    </pc:docChg>
  </pc:docChgLst>
  <pc:docChgLst>
    <pc:chgData name="Nabeel Dastgir" userId="S::ne012870@transco.ae::8b997b98-987f-43a6-83c6-096155f157e5" providerId="AD" clId="Web-{8A9A30BA-A991-404F-B150-BA2BBDA4C23D}"/>
    <pc:docChg chg="modSld">
      <pc:chgData name="Nabeel Dastgir" userId="S::ne012870@transco.ae::8b997b98-987f-43a6-83c6-096155f157e5" providerId="AD" clId="Web-{8A9A30BA-A991-404F-B150-BA2BBDA4C23D}" dt="2025-03-10T08:14:22.451" v="0" actId="1076"/>
      <pc:docMkLst>
        <pc:docMk/>
      </pc:docMkLst>
    </pc:docChg>
  </pc:docChgLst>
  <pc:docChgLst>
    <pc:chgData name="Ajmeer Sherif Mohamed Kasim" userId="S::ne0200190@taqatransmission.com::b0135b53-65c9-4763-8bfe-9cdb965640ba" providerId="AD" clId="Web-{25F2531F-E06B-4B37-D704-35F4A82EE506}"/>
    <pc:docChg chg="modSld">
      <pc:chgData name="Ajmeer Sherif Mohamed Kasim" userId="S::ne0200190@taqatransmission.com::b0135b53-65c9-4763-8bfe-9cdb965640ba" providerId="AD" clId="Web-{25F2531F-E06B-4B37-D704-35F4A82EE506}" dt="2025-05-14T06:45:36.855" v="9"/>
      <pc:docMkLst>
        <pc:docMk/>
      </pc:docMkLst>
      <pc:sldChg chg="modSp">
        <pc:chgData name="Ajmeer Sherif Mohamed Kasim" userId="S::ne0200190@taqatransmission.com::b0135b53-65c9-4763-8bfe-9cdb965640ba" providerId="AD" clId="Web-{25F2531F-E06B-4B37-D704-35F4A82EE506}" dt="2025-05-14T06:45:36.855" v="9"/>
        <pc:sldMkLst>
          <pc:docMk/>
          <pc:sldMk cId="1221362229" sldId="2147481232"/>
        </pc:sldMkLst>
        <pc:graphicFrameChg chg="mod modGraphic">
          <ac:chgData name="Ajmeer Sherif Mohamed Kasim" userId="S::ne0200190@taqatransmission.com::b0135b53-65c9-4763-8bfe-9cdb965640ba" providerId="AD" clId="Web-{25F2531F-E06B-4B37-D704-35F4A82EE506}" dt="2025-05-14T06:45:36.855" v="9"/>
          <ac:graphicFrameMkLst>
            <pc:docMk/>
            <pc:sldMk cId="1221362229" sldId="2147481232"/>
            <ac:graphicFrameMk id="2" creationId="{12BB7CC7-694F-AA0D-50D2-D7EA361BF462}"/>
          </ac:graphicFrameMkLst>
        </pc:graphicFrameChg>
      </pc:sldChg>
    </pc:docChg>
  </pc:docChgLst>
  <pc:docChgLst>
    <pc:chgData name="Nabeel Dastgir" userId="8b997b98-987f-43a6-83c6-096155f157e5" providerId="ADAL" clId="{5CDE8E59-6067-4722-892C-8797E3A46936}"/>
    <pc:docChg chg="undo custSel addSld delSld modSld">
      <pc:chgData name="Nabeel Dastgir" userId="8b997b98-987f-43a6-83c6-096155f157e5" providerId="ADAL" clId="{5CDE8E59-6067-4722-892C-8797E3A46936}" dt="2025-03-12T06:50:35.672" v="61" actId="47"/>
      <pc:docMkLst>
        <pc:docMk/>
      </pc:docMkLst>
      <pc:sldChg chg="del">
        <pc:chgData name="Nabeel Dastgir" userId="8b997b98-987f-43a6-83c6-096155f157e5" providerId="ADAL" clId="{5CDE8E59-6067-4722-892C-8797E3A46936}" dt="2025-03-12T06:50:35.672" v="61" actId="47"/>
        <pc:sldMkLst>
          <pc:docMk/>
          <pc:sldMk cId="360656682" sldId="317"/>
        </pc:sldMkLst>
      </pc:sldChg>
      <pc:sldChg chg="modSp del mod">
        <pc:chgData name="Nabeel Dastgir" userId="8b997b98-987f-43a6-83c6-096155f157e5" providerId="ADAL" clId="{5CDE8E59-6067-4722-892C-8797E3A46936}" dt="2025-03-06T08:31:00.264" v="4" actId="47"/>
        <pc:sldMkLst>
          <pc:docMk/>
          <pc:sldMk cId="269491010" sldId="2147481233"/>
        </pc:sldMkLst>
      </pc:sldChg>
    </pc:docChg>
  </pc:docChgLst>
  <pc:docChgLst>
    <pc:chgData name="Nabeel Dastgir" userId="8b997b98-987f-43a6-83c6-096155f157e5" providerId="ADAL" clId="{099C3549-3AD7-4376-85BF-B4DEC0E13743}"/>
    <pc:docChg chg="custSel modSld">
      <pc:chgData name="Nabeel Dastgir" userId="8b997b98-987f-43a6-83c6-096155f157e5" providerId="ADAL" clId="{099C3549-3AD7-4376-85BF-B4DEC0E13743}" dt="2025-03-12T07:23:54.442" v="352"/>
      <pc:docMkLst>
        <pc:docMk/>
      </pc:docMkLst>
      <pc:sldChg chg="addSp delSp modSp mod">
        <pc:chgData name="Nabeel Dastgir" userId="8b997b98-987f-43a6-83c6-096155f157e5" providerId="ADAL" clId="{099C3549-3AD7-4376-85BF-B4DEC0E13743}" dt="2025-03-12T07:23:41.892" v="258"/>
        <pc:sldMkLst>
          <pc:docMk/>
          <pc:sldMk cId="374239166" sldId="272"/>
        </pc:sldMkLst>
        <pc:graphicFrameChg chg="mod">
          <ac:chgData name="Nabeel Dastgir" userId="8b997b98-987f-43a6-83c6-096155f157e5" providerId="ADAL" clId="{099C3549-3AD7-4376-85BF-B4DEC0E13743}" dt="2025-03-12T07:23:41.892" v="258"/>
          <ac:graphicFrameMkLst>
            <pc:docMk/>
            <pc:sldMk cId="374239166" sldId="272"/>
            <ac:graphicFrameMk id="7" creationId="{54979D63-7FF7-CB30-4DB3-2DF8C42F1667}"/>
          </ac:graphicFrameMkLst>
        </pc:graphicFrameChg>
      </pc:sldChg>
      <pc:sldChg chg="modSp mod">
        <pc:chgData name="Nabeel Dastgir" userId="8b997b98-987f-43a6-83c6-096155f157e5" providerId="ADAL" clId="{099C3549-3AD7-4376-85BF-B4DEC0E13743}" dt="2025-03-12T07:23:38.267" v="232"/>
        <pc:sldMkLst>
          <pc:docMk/>
          <pc:sldMk cId="2281522627" sldId="2147481236"/>
        </pc:sldMkLst>
      </pc:sldChg>
      <pc:sldChg chg="addSp delSp modSp mod">
        <pc:chgData name="Nabeel Dastgir" userId="8b997b98-987f-43a6-83c6-096155f157e5" providerId="ADAL" clId="{099C3549-3AD7-4376-85BF-B4DEC0E13743}" dt="2025-03-12T07:23:54.442" v="352"/>
        <pc:sldMkLst>
          <pc:docMk/>
          <pc:sldMk cId="3714057606" sldId="2147481238"/>
        </pc:sldMkLst>
        <pc:graphicFrameChg chg="mod">
          <ac:chgData name="Nabeel Dastgir" userId="8b997b98-987f-43a6-83c6-096155f157e5" providerId="ADAL" clId="{099C3549-3AD7-4376-85BF-B4DEC0E13743}" dt="2025-03-12T07:23:54.442" v="352"/>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099C3549-3AD7-4376-85BF-B4DEC0E13743}" dt="2025-03-12T07:23:51.021" v="326"/>
        <pc:sldMkLst>
          <pc:docMk/>
          <pc:sldMk cId="1431349737" sldId="2147481239"/>
        </pc:sldMkLst>
        <pc:graphicFrameChg chg="mod">
          <ac:chgData name="Nabeel Dastgir" userId="8b997b98-987f-43a6-83c6-096155f157e5" providerId="ADAL" clId="{099C3549-3AD7-4376-85BF-B4DEC0E13743}" dt="2025-03-12T07:23:51.021" v="326"/>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099C3549-3AD7-4376-85BF-B4DEC0E13743}" dt="2025-03-12T07:23:23.766" v="179"/>
        <pc:sldMkLst>
          <pc:docMk/>
          <pc:sldMk cId="2205968895" sldId="2147481241"/>
        </pc:sldMkLst>
      </pc:sldChg>
      <pc:sldChg chg="addSp delSp modSp mod">
        <pc:chgData name="Nabeel Dastgir" userId="8b997b98-987f-43a6-83c6-096155f157e5" providerId="ADAL" clId="{099C3549-3AD7-4376-85BF-B4DEC0E13743}" dt="2025-03-12T07:23:45.315" v="300"/>
        <pc:sldMkLst>
          <pc:docMk/>
          <pc:sldMk cId="3299405138" sldId="2147481253"/>
        </pc:sldMkLst>
      </pc:sldChg>
    </pc:docChg>
  </pc:docChgLst>
  <pc:docChgLst>
    <pc:chgData name="Nabeel Dastgir" userId="8b997b98-987f-43a6-83c6-096155f157e5" providerId="ADAL" clId="{E1EEC585-A043-4074-B32C-9D47532E8DB2}"/>
    <pc:docChg chg="custSel modSld">
      <pc:chgData name="Nabeel Dastgir" userId="8b997b98-987f-43a6-83c6-096155f157e5" providerId="ADAL" clId="{E1EEC585-A043-4074-B32C-9D47532E8DB2}" dt="2025-03-12T07:47:15.514" v="330"/>
      <pc:docMkLst>
        <pc:docMk/>
      </pc:docMkLst>
      <pc:sldChg chg="addSp delSp modSp mod">
        <pc:chgData name="Nabeel Dastgir" userId="8b997b98-987f-43a6-83c6-096155f157e5" providerId="ADAL" clId="{E1EEC585-A043-4074-B32C-9D47532E8DB2}" dt="2025-03-12T07:47:05.489" v="236"/>
        <pc:sldMkLst>
          <pc:docMk/>
          <pc:sldMk cId="374239166" sldId="272"/>
        </pc:sldMkLst>
        <pc:spChg chg="mod">
          <ac:chgData name="Nabeel Dastgir" userId="8b997b98-987f-43a6-83c6-096155f157e5" providerId="ADAL" clId="{E1EEC585-A043-4074-B32C-9D47532E8DB2}" dt="2025-03-12T07:47:05.471" v="212" actId="948"/>
          <ac:spMkLst>
            <pc:docMk/>
            <pc:sldMk cId="374239166" sldId="272"/>
            <ac:spMk id="8" creationId="{6B246360-1EBB-0546-6D91-09C6828ED699}"/>
          </ac:spMkLst>
        </pc:spChg>
        <pc:graphicFrameChg chg="mod">
          <ac:chgData name="Nabeel Dastgir" userId="8b997b98-987f-43a6-83c6-096155f157e5" providerId="ADAL" clId="{E1EEC585-A043-4074-B32C-9D47532E8DB2}" dt="2025-03-12T07:47:05.489" v="236"/>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E1EEC585-A043-4074-B32C-9D47532E8DB2}" dt="2025-03-12T07:46:42.657" v="80"/>
        <pc:sldMkLst>
          <pc:docMk/>
          <pc:sldMk cId="3440684613" sldId="2147376831"/>
        </pc:sldMkLst>
        <pc:spChg chg="mod">
          <ac:chgData name="Nabeel Dastgir" userId="8b997b98-987f-43a6-83c6-096155f157e5" providerId="ADAL" clId="{E1EEC585-A043-4074-B32C-9D47532E8DB2}" dt="2025-03-12T07:46:42.631" v="55" actId="948"/>
          <ac:spMkLst>
            <pc:docMk/>
            <pc:sldMk cId="3440684613" sldId="2147376831"/>
            <ac:spMk id="4" creationId="{FF10E8DA-4CAF-F96C-6E64-A81849CD287F}"/>
          </ac:spMkLst>
        </pc:spChg>
        <pc:graphicFrameChg chg="mod">
          <ac:chgData name="Nabeel Dastgir" userId="8b997b98-987f-43a6-83c6-096155f157e5" providerId="ADAL" clId="{E1EEC585-A043-4074-B32C-9D47532E8DB2}" dt="2025-03-12T07:46:42.657" v="80"/>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E1EEC585-A043-4074-B32C-9D47532E8DB2}" dt="2025-03-12T07:47:02.463" v="210"/>
        <pc:sldMkLst>
          <pc:docMk/>
          <pc:sldMk cId="2281522627" sldId="2147481236"/>
        </pc:sldMkLst>
      </pc:sldChg>
      <pc:sldChg chg="addSp delSp modSp mod">
        <pc:chgData name="Nabeel Dastgir" userId="8b997b98-987f-43a6-83c6-096155f157e5" providerId="ADAL" clId="{E1EEC585-A043-4074-B32C-9D47532E8DB2}" dt="2025-03-12T07:47:12.698" v="304"/>
        <pc:sldMkLst>
          <pc:docMk/>
          <pc:sldMk cId="1431349737" sldId="2147481239"/>
        </pc:sldMkLst>
        <pc:spChg chg="mod">
          <ac:chgData name="Nabeel Dastgir" userId="8b997b98-987f-43a6-83c6-096155f157e5" providerId="ADAL" clId="{E1EEC585-A043-4074-B32C-9D47532E8DB2}" dt="2025-03-12T07:47:12.675" v="280" actId="948"/>
          <ac:spMkLst>
            <pc:docMk/>
            <pc:sldMk cId="1431349737" sldId="2147481239"/>
            <ac:spMk id="7" creationId="{53ABF7E5-8903-8C00-E85A-328C54766231}"/>
          </ac:spMkLst>
        </pc:spChg>
        <pc:graphicFrameChg chg="mod">
          <ac:chgData name="Nabeel Dastgir" userId="8b997b98-987f-43a6-83c6-096155f157e5" providerId="ADAL" clId="{E1EEC585-A043-4074-B32C-9D47532E8DB2}" dt="2025-03-12T07:47:12.698" v="304"/>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E1EEC585-A043-4074-B32C-9D47532E8DB2}" dt="2025-03-12T07:47:08.440" v="278"/>
        <pc:sldMkLst>
          <pc:docMk/>
          <pc:sldMk cId="3299405138" sldId="2147481253"/>
        </pc:sldMkLst>
      </pc:sldChg>
    </pc:docChg>
  </pc:docChgLst>
  <pc:docChgLst>
    <pc:chgData name="Narayanan .V" userId="S::ne011939@transco.ae::92d2e4b6-5b8d-468a-afb5-26520957b2fb" providerId="AD" clId="Web-{AA0C85D4-4799-8D42-9AA6-1BEF9A795A1E}"/>
    <pc:docChg chg="delSld modSld">
      <pc:chgData name="Narayanan .V" userId="S::ne011939@transco.ae::92d2e4b6-5b8d-468a-afb5-26520957b2fb" providerId="AD" clId="Web-{AA0C85D4-4799-8D42-9AA6-1BEF9A795A1E}" dt="2025-05-16T05:13:28.415" v="12" actId="1076"/>
      <pc:docMkLst>
        <pc:docMk/>
      </pc:docMkLst>
      <pc:sldChg chg="delSp modSp del">
        <pc:chgData name="Narayanan .V" userId="S::ne011939@transco.ae::92d2e4b6-5b8d-468a-afb5-26520957b2fb" providerId="AD" clId="Web-{AA0C85D4-4799-8D42-9AA6-1BEF9A795A1E}" dt="2025-05-16T05:13:16.118" v="9"/>
        <pc:sldMkLst>
          <pc:docMk/>
          <pc:sldMk cId="2790156800" sldId="2147481254"/>
        </pc:sldMkLst>
      </pc:sldChg>
    </pc:docChg>
  </pc:docChgLst>
  <pc:docChgLst>
    <pc:chgData name="Nabeel Dastgir" userId="8b997b98-987f-43a6-83c6-096155f157e5" providerId="ADAL" clId="{E5E04053-D413-4C81-8EF6-CBBF97E8AB01}"/>
    <pc:docChg chg="custSel modSld">
      <pc:chgData name="Nabeel Dastgir" userId="8b997b98-987f-43a6-83c6-096155f157e5" providerId="ADAL" clId="{E5E04053-D413-4C81-8EF6-CBBF97E8AB01}" dt="2025-03-12T07:20:02.365" v="317"/>
      <pc:docMkLst>
        <pc:docMk/>
      </pc:docMkLst>
      <pc:sldChg chg="addSp delSp modSp mod">
        <pc:chgData name="Nabeel Dastgir" userId="8b997b98-987f-43a6-83c6-096155f157e5" providerId="ADAL" clId="{E5E04053-D413-4C81-8EF6-CBBF97E8AB01}" dt="2025-03-12T07:19:52.565" v="223"/>
        <pc:sldMkLst>
          <pc:docMk/>
          <pc:sldMk cId="374239166" sldId="272"/>
        </pc:sldMkLst>
        <pc:graphicFrameChg chg="mod">
          <ac:chgData name="Nabeel Dastgir" userId="8b997b98-987f-43a6-83c6-096155f157e5" providerId="ADAL" clId="{E5E04053-D413-4C81-8EF6-CBBF97E8AB01}" dt="2025-03-12T07:19:52.565" v="223"/>
          <ac:graphicFrameMkLst>
            <pc:docMk/>
            <pc:sldMk cId="374239166" sldId="272"/>
            <ac:graphicFrameMk id="7" creationId="{54979D63-7FF7-CB30-4DB3-2DF8C42F1667}"/>
          </ac:graphicFrameMkLst>
        </pc:graphicFrameChg>
      </pc:sldChg>
      <pc:sldChg chg="modSp mod">
        <pc:chgData name="Nabeel Dastgir" userId="8b997b98-987f-43a6-83c6-096155f157e5" providerId="ADAL" clId="{E5E04053-D413-4C81-8EF6-CBBF97E8AB01}" dt="2025-03-12T07:19:47.420" v="197"/>
        <pc:sldMkLst>
          <pc:docMk/>
          <pc:sldMk cId="2281522627" sldId="2147481236"/>
        </pc:sldMkLst>
      </pc:sldChg>
      <pc:sldChg chg="addSp delSp modSp mod">
        <pc:chgData name="Nabeel Dastgir" userId="8b997b98-987f-43a6-83c6-096155f157e5" providerId="ADAL" clId="{E5E04053-D413-4C81-8EF6-CBBF97E8AB01}" dt="2025-03-12T07:19:55.407" v="265"/>
        <pc:sldMkLst>
          <pc:docMk/>
          <pc:sldMk cId="3299405138" sldId="2147481253"/>
        </pc:sldMkLst>
      </pc:sldChg>
    </pc:docChg>
  </pc:docChgLst>
  <pc:docChgLst>
    <pc:chgData name="Nabeel Dastgir" userId="8b997b98-987f-43a6-83c6-096155f157e5" providerId="ADAL" clId="{4DD5A200-A0C7-4EC0-9492-FA71A5BA4985}"/>
    <pc:docChg chg="custSel modSld">
      <pc:chgData name="Nabeel Dastgir" userId="8b997b98-987f-43a6-83c6-096155f157e5" providerId="ADAL" clId="{4DD5A200-A0C7-4EC0-9492-FA71A5BA4985}" dt="2025-03-12T07:25:07.896" v="283"/>
      <pc:docMkLst>
        <pc:docMk/>
      </pc:docMkLst>
      <pc:sldChg chg="modSp mod">
        <pc:chgData name="Nabeel Dastgir" userId="8b997b98-987f-43a6-83c6-096155f157e5" providerId="ADAL" clId="{4DD5A200-A0C7-4EC0-9492-FA71A5BA4985}" dt="2025-03-12T07:24:53.907" v="163"/>
        <pc:sldMkLst>
          <pc:docMk/>
          <pc:sldMk cId="2281522627" sldId="2147481236"/>
        </pc:sldMkLst>
      </pc:sldChg>
      <pc:sldChg chg="addSp delSp modSp mod">
        <pc:chgData name="Nabeel Dastgir" userId="8b997b98-987f-43a6-83c6-096155f157e5" providerId="ADAL" clId="{4DD5A200-A0C7-4EC0-9492-FA71A5BA4985}" dt="2025-03-12T07:25:02.027" v="231"/>
        <pc:sldMkLst>
          <pc:docMk/>
          <pc:sldMk cId="3299405138" sldId="2147481253"/>
        </pc:sldMkLst>
      </pc:sldChg>
    </pc:docChg>
  </pc:docChgLst>
  <pc:docChgLst>
    <pc:chgData name="Nabeel Dastgir" userId="8b997b98-987f-43a6-83c6-096155f157e5" providerId="ADAL" clId="{6F752442-B8CD-4BC1-9889-F3489DB757D4}"/>
    <pc:docChg chg="custSel modSld">
      <pc:chgData name="Nabeel Dastgir" userId="8b997b98-987f-43a6-83c6-096155f157e5" providerId="ADAL" clId="{6F752442-B8CD-4BC1-9889-F3489DB757D4}" dt="2025-03-12T07:39:39.359" v="342"/>
      <pc:docMkLst>
        <pc:docMk/>
      </pc:docMkLst>
    </pc:docChg>
  </pc:docChgLst>
  <pc:docChgLst>
    <pc:chgData name="Ranjeet Ram Lakhan Kushwaha" userId="S::ne015257@transco.ae::5853f938-35ab-43aa-9c33-aea7d8e56db9" providerId="AD" clId="Web-{B9E657CE-3A46-C8C0-FD37-16EC33A83F59}"/>
    <pc:docChg chg="modSld">
      <pc:chgData name="Ranjeet Ram Lakhan Kushwaha" userId="S::ne015257@transco.ae::5853f938-35ab-43aa-9c33-aea7d8e56db9" providerId="AD" clId="Web-{B9E657CE-3A46-C8C0-FD37-16EC33A83F59}" dt="2025-04-15T06:47:02.110" v="1"/>
      <pc:docMkLst>
        <pc:docMk/>
      </pc:docMkLst>
    </pc:docChg>
  </pc:docChgLst>
  <pc:docChgLst>
    <pc:chgData name="Nabeel Dastgir" userId="8b997b98-987f-43a6-83c6-096155f157e5" providerId="ADAL" clId="{778F19E0-FC2D-4D44-9DF0-524D2BCD3E43}"/>
    <pc:docChg chg="custSel modSld">
      <pc:chgData name="Nabeel Dastgir" userId="8b997b98-987f-43a6-83c6-096155f157e5" providerId="ADAL" clId="{778F19E0-FC2D-4D44-9DF0-524D2BCD3E43}" dt="2025-03-12T07:21:19.206" v="254"/>
      <pc:docMkLst>
        <pc:docMk/>
      </pc:docMkLst>
    </pc:docChg>
  </pc:docChgLst>
  <pc:docChgLst>
    <pc:chgData name="Nikhil Kumar Laxmi Chandra Jha" userId="S::ne015239@transco.ae::ddde9457-c3ef-4fd2-8a2a-a71426930753" providerId="AD" clId="Web-{DE9F916C-83D6-9282-A90A-F729BCEA8BAC}"/>
    <pc:docChg chg="modSld">
      <pc:chgData name="Nikhil Kumar Laxmi Chandra Jha" userId="S::ne015239@transco.ae::ddde9457-c3ef-4fd2-8a2a-a71426930753" providerId="AD" clId="Web-{DE9F916C-83D6-9282-A90A-F729BCEA8BAC}" dt="2025-04-15T05:29:07.321" v="1390" actId="1076"/>
      <pc:docMkLst>
        <pc:docMk/>
      </pc:docMkLst>
    </pc:docChg>
  </pc:docChgLst>
  <pc:docChgLst>
    <pc:chgData name="Nabeel Dastgir" userId="8b997b98-987f-43a6-83c6-096155f157e5" providerId="ADAL" clId="{636256EA-0F43-4270-A8AB-AAC343AA904C}"/>
    <pc:docChg chg="custSel modSld">
      <pc:chgData name="Nabeel Dastgir" userId="8b997b98-987f-43a6-83c6-096155f157e5" providerId="ADAL" clId="{636256EA-0F43-4270-A8AB-AAC343AA904C}" dt="2025-03-12T07:05:16.304" v="310"/>
      <pc:docMkLst>
        <pc:docMk/>
      </pc:docMkLst>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ctual</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gineering</c:v>
                </c:pt>
                <c:pt idx="1">
                  <c:v>Procurement</c:v>
                </c:pt>
                <c:pt idx="2">
                  <c:v>Construction</c:v>
                </c:pt>
              </c:strCache>
            </c:strRef>
          </c:cat>
          <c:val>
            <c:numRef>
              <c:f>Sheet1!$B$2:$B$4</c:f>
              <c:numCache>
                <c:formatCode>0%</c:formatCode>
                <c:ptCount val="3"/>
                <c:pt idx="0">
                  <c:v>0.93</c:v>
                </c:pt>
                <c:pt idx="1">
                  <c:v>0.87</c:v>
                </c:pt>
                <c:pt idx="2">
                  <c:v>0.3</c:v>
                </c:pt>
              </c:numCache>
            </c:numRef>
          </c:val>
          <c:extLst>
            <c:ext xmlns:c16="http://schemas.microsoft.com/office/drawing/2014/chart" uri="{C3380CC4-5D6E-409C-BE32-E72D297353CC}">
              <c16:uniqueId val="{00000000-909E-4A3C-8C3C-0CC17731F24F}"/>
            </c:ext>
          </c:extLst>
        </c:ser>
        <c:ser>
          <c:idx val="1"/>
          <c:order val="1"/>
          <c:tx>
            <c:strRef>
              <c:f>Sheet1!$C$1</c:f>
              <c:strCache>
                <c:ptCount val="1"/>
                <c:pt idx="0">
                  <c:v>Baselin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gineering</c:v>
                </c:pt>
                <c:pt idx="1">
                  <c:v>Procurement</c:v>
                </c:pt>
                <c:pt idx="2">
                  <c:v>Construction</c:v>
                </c:pt>
              </c:strCache>
            </c:strRef>
          </c:cat>
          <c:val>
            <c:numRef>
              <c:f>Sheet1!$C$2:$C$4</c:f>
              <c:numCache>
                <c:formatCode>0%</c:formatCode>
                <c:ptCount val="3"/>
                <c:pt idx="0">
                  <c:v>1</c:v>
                </c:pt>
                <c:pt idx="1">
                  <c:v>1</c:v>
                </c:pt>
                <c:pt idx="2">
                  <c:v>1</c:v>
                </c:pt>
              </c:numCache>
            </c:numRef>
          </c:val>
          <c:extLst>
            <c:ext xmlns:c16="http://schemas.microsoft.com/office/drawing/2014/chart" uri="{C3380CC4-5D6E-409C-BE32-E72D297353CC}">
              <c16:uniqueId val="{00000001-909E-4A3C-8C3C-0CC17731F24F}"/>
            </c:ext>
          </c:extLst>
        </c:ser>
        <c:dLbls>
          <c:dLblPos val="ctr"/>
          <c:showLegendKey val="0"/>
          <c:showVal val="1"/>
          <c:showCatName val="0"/>
          <c:showSerName val="0"/>
          <c:showPercent val="0"/>
          <c:showBubbleSize val="0"/>
        </c:dLbls>
        <c:gapWidth val="219"/>
        <c:overlap val="-27"/>
        <c:axId val="1211186335"/>
        <c:axId val="1211192575"/>
      </c:barChart>
      <c:catAx>
        <c:axId val="1211186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211192575"/>
        <c:crosses val="autoZero"/>
        <c:auto val="1"/>
        <c:lblAlgn val="ctr"/>
        <c:lblOffset val="100"/>
        <c:noMultiLvlLbl val="0"/>
      </c:catAx>
      <c:valAx>
        <c:axId val="1211192575"/>
        <c:scaling>
          <c:orientation val="minMax"/>
        </c:scaling>
        <c:delete val="1"/>
        <c:axPos val="l"/>
        <c:numFmt formatCode="0%" sourceLinked="1"/>
        <c:majorTickMark val="out"/>
        <c:minorTickMark val="none"/>
        <c:tickLblPos val="nextTo"/>
        <c:crossAx val="121118633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287604692422189E-2"/>
          <c:y val="3.2624667331148077E-2"/>
          <c:w val="0.86742479061515565"/>
          <c:h val="0.76075243957158079"/>
        </c:manualLayout>
      </c:layout>
      <c:barChart>
        <c:barDir val="col"/>
        <c:grouping val="clustered"/>
        <c:varyColors val="0"/>
        <c:ser>
          <c:idx val="0"/>
          <c:order val="0"/>
          <c:tx>
            <c:strRef>
              <c:f>Sheet1!$B$1</c:f>
              <c:strCache>
                <c:ptCount val="1"/>
                <c:pt idx="0">
                  <c:v>Actual</c:v>
                </c:pt>
              </c:strCache>
            </c:strRef>
          </c:tx>
          <c:spPr>
            <a:solidFill>
              <a:schemeClr val="accent1"/>
            </a:solidFill>
            <a:ln>
              <a:solidFill>
                <a:schemeClr val="accent3">
                  <a:lumMod val="50000"/>
                </a:schemeClr>
              </a:solidFill>
            </a:ln>
            <a:effectLst/>
          </c:spPr>
          <c:invertIfNegative val="0"/>
          <c:dPt>
            <c:idx val="0"/>
            <c:invertIfNegative val="0"/>
            <c:bubble3D val="0"/>
            <c:spPr>
              <a:solidFill>
                <a:schemeClr val="accent1">
                  <a:lumMod val="50000"/>
                </a:schemeClr>
              </a:solidFill>
              <a:ln>
                <a:solidFill>
                  <a:schemeClr val="accent3">
                    <a:lumMod val="50000"/>
                  </a:schemeClr>
                </a:solidFill>
              </a:ln>
              <a:effectLst/>
            </c:spPr>
            <c:extLst>
              <c:ext xmlns:c16="http://schemas.microsoft.com/office/drawing/2014/chart" uri="{C3380CC4-5D6E-409C-BE32-E72D297353CC}">
                <c16:uniqueId val="{00000003-9E93-46E9-A008-D65541B56CE4}"/>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65</c:v>
                </c:pt>
              </c:numCache>
            </c:numRef>
          </c:val>
          <c:extLst>
            <c:ext xmlns:c16="http://schemas.microsoft.com/office/drawing/2014/chart" uri="{C3380CC4-5D6E-409C-BE32-E72D297353CC}">
              <c16:uniqueId val="{00000000-9E93-46E9-A008-D65541B56CE4}"/>
            </c:ext>
          </c:extLst>
        </c:ser>
        <c:ser>
          <c:idx val="1"/>
          <c:order val="1"/>
          <c:tx>
            <c:strRef>
              <c:f>Sheet1!$C$1</c:f>
              <c:strCache>
                <c:ptCount val="1"/>
                <c:pt idx="0">
                  <c:v>Baselin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1</c:v>
                </c:pt>
              </c:numCache>
            </c:numRef>
          </c:val>
          <c:extLst>
            <c:ext xmlns:c16="http://schemas.microsoft.com/office/drawing/2014/chart" uri="{C3380CC4-5D6E-409C-BE32-E72D297353CC}">
              <c16:uniqueId val="{00000001-9E93-46E9-A008-D65541B56CE4}"/>
            </c:ext>
          </c:extLst>
        </c:ser>
        <c:dLbls>
          <c:dLblPos val="ctr"/>
          <c:showLegendKey val="0"/>
          <c:showVal val="1"/>
          <c:showCatName val="0"/>
          <c:showSerName val="0"/>
          <c:showPercent val="0"/>
          <c:showBubbleSize val="0"/>
        </c:dLbls>
        <c:gapWidth val="219"/>
        <c:overlap val="-27"/>
        <c:axId val="834341120"/>
        <c:axId val="834344000"/>
      </c:barChart>
      <c:catAx>
        <c:axId val="834341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34344000"/>
        <c:crosses val="autoZero"/>
        <c:auto val="1"/>
        <c:lblAlgn val="ctr"/>
        <c:lblOffset val="100"/>
        <c:noMultiLvlLbl val="0"/>
      </c:catAx>
      <c:valAx>
        <c:axId val="834344000"/>
        <c:scaling>
          <c:orientation val="minMax"/>
          <c:max val="1"/>
          <c:min val="0"/>
        </c:scaling>
        <c:delete val="1"/>
        <c:axPos val="l"/>
        <c:numFmt formatCode="0%" sourceLinked="1"/>
        <c:majorTickMark val="out"/>
        <c:minorTickMark val="none"/>
        <c:tickLblPos val="nextTo"/>
        <c:crossAx val="834341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57D283-7CC1-25D9-C0C1-5F7A7E1AF2E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a:extLst>
              <a:ext uri="{FF2B5EF4-FFF2-40B4-BE49-F238E27FC236}">
                <a16:creationId xmlns:a16="http://schemas.microsoft.com/office/drawing/2014/main" id="{524C26CF-884E-9CE6-02C8-7E06CB5E25F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F8727E7-B50E-46E5-8CD5-AEAB644ABC9D}" type="datetimeFigureOut">
              <a:rPr lang="en-AE" smtClean="0"/>
              <a:t>30/05/2025</a:t>
            </a:fld>
            <a:endParaRPr lang="en-AE"/>
          </a:p>
        </p:txBody>
      </p:sp>
      <p:sp>
        <p:nvSpPr>
          <p:cNvPr id="4" name="Footer Placeholder 3">
            <a:extLst>
              <a:ext uri="{FF2B5EF4-FFF2-40B4-BE49-F238E27FC236}">
                <a16:creationId xmlns:a16="http://schemas.microsoft.com/office/drawing/2014/main" id="{2B77ECB6-E116-5CFE-C28A-3BD205577C7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5" name="Slide Number Placeholder 4">
            <a:extLst>
              <a:ext uri="{FF2B5EF4-FFF2-40B4-BE49-F238E27FC236}">
                <a16:creationId xmlns:a16="http://schemas.microsoft.com/office/drawing/2014/main" id="{FC0D8F8F-5672-E32E-B62E-0476C46875A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8894094-26CB-445F-9AF7-FB423C90BC10}" type="slidenum">
              <a:rPr lang="en-AE" smtClean="0"/>
              <a:t>‹#›</a:t>
            </a:fld>
            <a:endParaRPr lang="en-AE"/>
          </a:p>
        </p:txBody>
      </p:sp>
    </p:spTree>
    <p:extLst>
      <p:ext uri="{BB962C8B-B14F-4D97-AF65-F5344CB8AC3E}">
        <p14:creationId xmlns:p14="http://schemas.microsoft.com/office/powerpoint/2010/main" val="1438498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9E501A-1584-4D65-8836-C9FBD7E3E5F3}" type="datetimeFigureOut">
              <a:rPr lang="en-GB" smtClean="0"/>
              <a:t>30/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4D9AE9-EAA3-492E-9CF5-337254D1A7AF}" type="slidenum">
              <a:rPr lang="en-GB" smtClean="0"/>
              <a:t>‹#›</a:t>
            </a:fld>
            <a:endParaRPr lang="en-GB"/>
          </a:p>
        </p:txBody>
      </p:sp>
    </p:spTree>
    <p:extLst>
      <p:ext uri="{BB962C8B-B14F-4D97-AF65-F5344CB8AC3E}">
        <p14:creationId xmlns:p14="http://schemas.microsoft.com/office/powerpoint/2010/main" val="42907167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2A8BD-27C6-C739-0BB5-3622DF5AA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B6DC67-E1BD-3200-B2C0-0E02DC4F5B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267898-A111-3B16-B521-5F79E96A9BB7}"/>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C616AA71-86A1-F823-7AFC-6344C913AE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C1C76-2186-4839-BBCE-C7BD0AD7E128}"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2748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DA8A67-23B1-4C6A-93EF-B55E53B81FDB}" type="slidenum">
              <a:rPr lang="en-US" smtClean="0"/>
              <a:t>3</a:t>
            </a:fld>
            <a:endParaRPr lang="en-US"/>
          </a:p>
        </p:txBody>
      </p:sp>
    </p:spTree>
    <p:extLst>
      <p:ext uri="{BB962C8B-B14F-4D97-AF65-F5344CB8AC3E}">
        <p14:creationId xmlns:p14="http://schemas.microsoft.com/office/powerpoint/2010/main" val="630376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 Id="rId3"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96A51C-B9BD-4789-6553-ADE2FF1E8507}"/>
              </a:ext>
            </a:extLst>
          </p:cNvPr>
          <p:cNvSpPr/>
          <p:nvPr userDrawn="1"/>
        </p:nvSpPr>
        <p:spPr>
          <a:xfrm>
            <a:off x="6674605" y="1"/>
            <a:ext cx="5517396" cy="6858000"/>
          </a:xfrm>
          <a:custGeom>
            <a:avLst/>
            <a:gdLst>
              <a:gd name="connsiteX0" fmla="*/ 0 w 1712563"/>
              <a:gd name="connsiteY0" fmla="*/ 0 h 5143500"/>
              <a:gd name="connsiteX1" fmla="*/ 1712563 w 1712563"/>
              <a:gd name="connsiteY1" fmla="*/ 0 h 5143500"/>
              <a:gd name="connsiteX2" fmla="*/ 1712563 w 1712563"/>
              <a:gd name="connsiteY2" fmla="*/ 5143500 h 5143500"/>
              <a:gd name="connsiteX3" fmla="*/ 0 w 1712563"/>
              <a:gd name="connsiteY3" fmla="*/ 5143500 h 5143500"/>
              <a:gd name="connsiteX4" fmla="*/ 0 w 1712563"/>
              <a:gd name="connsiteY4" fmla="*/ 0 h 5143500"/>
              <a:gd name="connsiteX0" fmla="*/ 0 w 4138047"/>
              <a:gd name="connsiteY0" fmla="*/ 0 h 5151249"/>
              <a:gd name="connsiteX1" fmla="*/ 4138047 w 4138047"/>
              <a:gd name="connsiteY1" fmla="*/ 7749 h 5151249"/>
              <a:gd name="connsiteX2" fmla="*/ 4138047 w 4138047"/>
              <a:gd name="connsiteY2" fmla="*/ 5151249 h 5151249"/>
              <a:gd name="connsiteX3" fmla="*/ 2425484 w 4138047"/>
              <a:gd name="connsiteY3" fmla="*/ 5151249 h 5151249"/>
              <a:gd name="connsiteX4" fmla="*/ 0 w 4138047"/>
              <a:gd name="connsiteY4" fmla="*/ 0 h 5151249"/>
              <a:gd name="connsiteX0" fmla="*/ 0 w 4138047"/>
              <a:gd name="connsiteY0" fmla="*/ 0 h 5151249"/>
              <a:gd name="connsiteX1" fmla="*/ 4134872 w 4138047"/>
              <a:gd name="connsiteY1" fmla="*/ 1399 h 5151249"/>
              <a:gd name="connsiteX2" fmla="*/ 4138047 w 4138047"/>
              <a:gd name="connsiteY2" fmla="*/ 5151249 h 5151249"/>
              <a:gd name="connsiteX3" fmla="*/ 2425484 w 4138047"/>
              <a:gd name="connsiteY3" fmla="*/ 5151249 h 5151249"/>
              <a:gd name="connsiteX4" fmla="*/ 0 w 4138047"/>
              <a:gd name="connsiteY4" fmla="*/ 0 h 5151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047" h="5151249">
                <a:moveTo>
                  <a:pt x="0" y="0"/>
                </a:moveTo>
                <a:lnTo>
                  <a:pt x="4134872" y="1399"/>
                </a:lnTo>
                <a:cubicBezTo>
                  <a:pt x="4135930" y="1718016"/>
                  <a:pt x="4136989" y="3434632"/>
                  <a:pt x="4138047" y="5151249"/>
                </a:cubicBezTo>
                <a:lnTo>
                  <a:pt x="2425484" y="5151249"/>
                </a:lnTo>
                <a:lnTo>
                  <a:pt x="0"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10" name="Title 1">
            <a:extLst>
              <a:ext uri="{FF2B5EF4-FFF2-40B4-BE49-F238E27FC236}">
                <a16:creationId xmlns:a16="http://schemas.microsoft.com/office/drawing/2014/main" id="{5B4EEC2A-FB34-455E-AA09-4A7BBE0BA2FF}"/>
              </a:ext>
            </a:extLst>
          </p:cNvPr>
          <p:cNvSpPr>
            <a:spLocks noGrp="1"/>
          </p:cNvSpPr>
          <p:nvPr>
            <p:ph type="ctrTitle"/>
          </p:nvPr>
        </p:nvSpPr>
        <p:spPr>
          <a:xfrm>
            <a:off x="339927" y="1410370"/>
            <a:ext cx="7277259" cy="2935484"/>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26B3E4EB-749F-4C62-98BD-EB98EAFC9DFE}"/>
              </a:ext>
            </a:extLst>
          </p:cNvPr>
          <p:cNvSpPr>
            <a:spLocks noGrp="1"/>
          </p:cNvSpPr>
          <p:nvPr>
            <p:ph type="subTitle" idx="1"/>
          </p:nvPr>
        </p:nvSpPr>
        <p:spPr>
          <a:xfrm>
            <a:off x="339927" y="4489402"/>
            <a:ext cx="7277259" cy="1189457"/>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15" indent="0" algn="ctr">
              <a:buNone/>
              <a:defRPr sz="672"/>
            </a:lvl2pPr>
            <a:lvl3pPr marL="307231" indent="0" algn="ctr">
              <a:buNone/>
              <a:defRPr sz="605"/>
            </a:lvl3pPr>
            <a:lvl4pPr marL="460846" indent="0" algn="ctr">
              <a:buNone/>
              <a:defRPr sz="537"/>
            </a:lvl4pPr>
            <a:lvl5pPr marL="614462" indent="0" algn="ctr">
              <a:buNone/>
              <a:defRPr sz="537"/>
            </a:lvl5pPr>
            <a:lvl6pPr marL="768077" indent="0" algn="ctr">
              <a:buNone/>
              <a:defRPr sz="537"/>
            </a:lvl6pPr>
            <a:lvl7pPr marL="921692" indent="0" algn="ctr">
              <a:buNone/>
              <a:defRPr sz="537"/>
            </a:lvl7pPr>
            <a:lvl8pPr marL="1075308" indent="0" algn="ctr">
              <a:buNone/>
              <a:defRPr sz="537"/>
            </a:lvl8pPr>
            <a:lvl9pPr marL="1228923" indent="0" algn="ctr">
              <a:buNone/>
              <a:defRPr sz="537"/>
            </a:lvl9pPr>
          </a:lstStyle>
          <a:p>
            <a:r>
              <a:rPr lang="en-US"/>
              <a:t>Click to edit Master subtitle style</a:t>
            </a:r>
          </a:p>
        </p:txBody>
      </p:sp>
      <p:sp>
        <p:nvSpPr>
          <p:cNvPr id="2" name="TextBox 1">
            <a:extLst>
              <a:ext uri="{FF2B5EF4-FFF2-40B4-BE49-F238E27FC236}">
                <a16:creationId xmlns:a16="http://schemas.microsoft.com/office/drawing/2014/main" id="{A6339FB2-C2C6-A452-1821-93FFB7A40B3B}"/>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pic>
        <p:nvPicPr>
          <p:cNvPr id="4" name="Picture 3">
            <a:extLst>
              <a:ext uri="{FF2B5EF4-FFF2-40B4-BE49-F238E27FC236}">
                <a16:creationId xmlns:a16="http://schemas.microsoft.com/office/drawing/2014/main" id="{F1DF4B20-ACC8-DFF3-C0BD-D904F605892B}"/>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rcRect b="20491"/>
          <a:stretch/>
        </p:blipFill>
        <p:spPr>
          <a:xfrm rot="16200000">
            <a:off x="8830981" y="2632525"/>
            <a:ext cx="4331555" cy="1571272"/>
          </a:xfrm>
          <a:prstGeom prst="rect">
            <a:avLst/>
          </a:prstGeom>
        </p:spPr>
      </p:pic>
    </p:spTree>
    <p:extLst>
      <p:ext uri="{BB962C8B-B14F-4D97-AF65-F5344CB8AC3E}">
        <p14:creationId xmlns:p14="http://schemas.microsoft.com/office/powerpoint/2010/main" val="3661680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2"/>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F927D871-1723-4F0F-9B0A-FA9CC179586A}"/>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rcRect l="9441" t="11223" r="19747" b="44922"/>
          <a:stretch/>
        </p:blipFill>
        <p:spPr>
          <a:xfrm>
            <a:off x="1304223" y="1892440"/>
            <a:ext cx="8820311" cy="4961425"/>
          </a:xfrm>
          <a:prstGeom prst="rect">
            <a:avLst/>
          </a:prstGeom>
        </p:spPr>
      </p:pic>
      <p:sp>
        <p:nvSpPr>
          <p:cNvPr id="29" name="Rectangle 28">
            <a:extLst>
              <a:ext uri="{FF2B5EF4-FFF2-40B4-BE49-F238E27FC236}">
                <a16:creationId xmlns:a16="http://schemas.microsoft.com/office/drawing/2014/main" id="{417A21B1-AA13-94D9-7F5A-60E88E06DBB9}"/>
              </a:ext>
            </a:extLst>
          </p:cNvPr>
          <p:cNvSpPr/>
          <p:nvPr userDrawn="1"/>
        </p:nvSpPr>
        <p:spPr>
          <a:xfrm>
            <a:off x="1252123" y="1883940"/>
            <a:ext cx="5544735" cy="4969925"/>
          </a:xfrm>
          <a:prstGeom prst="rect">
            <a:avLst/>
          </a:prstGeom>
          <a:gradFill>
            <a:gsLst>
              <a:gs pos="31000">
                <a:schemeClr val="tx2"/>
              </a:gs>
              <a:gs pos="100000">
                <a:schemeClr val="tx2">
                  <a:alpha val="0"/>
                </a:schemeClr>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3" name="TextBox 2">
            <a:extLst>
              <a:ext uri="{FF2B5EF4-FFF2-40B4-BE49-F238E27FC236}">
                <a16:creationId xmlns:a16="http://schemas.microsoft.com/office/drawing/2014/main" id="{9C1B3C2F-8579-8A8E-7B7B-6A5D26FE896C}"/>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sp>
        <p:nvSpPr>
          <p:cNvPr id="8" name="Rectangle 7">
            <a:extLst>
              <a:ext uri="{FF2B5EF4-FFF2-40B4-BE49-F238E27FC236}">
                <a16:creationId xmlns:a16="http://schemas.microsoft.com/office/drawing/2014/main" id="{F4D66351-9D83-56E5-A059-B216256C152E}"/>
              </a:ext>
            </a:extLst>
          </p:cNvPr>
          <p:cNvSpPr/>
          <p:nvPr userDrawn="1"/>
        </p:nvSpPr>
        <p:spPr>
          <a:xfrm rot="10800000">
            <a:off x="2067466" y="1890246"/>
            <a:ext cx="8705109" cy="4969925"/>
          </a:xfrm>
          <a:prstGeom prst="rect">
            <a:avLst/>
          </a:prstGeom>
          <a:gradFill>
            <a:gsLst>
              <a:gs pos="0">
                <a:schemeClr val="accent1">
                  <a:alpha val="69846"/>
                </a:schemeClr>
              </a:gs>
              <a:gs pos="32000">
                <a:schemeClr val="accent1">
                  <a:alpha val="0"/>
                </a:schemeClr>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pic>
        <p:nvPicPr>
          <p:cNvPr id="7" name="Picture 6">
            <a:extLst>
              <a:ext uri="{FF2B5EF4-FFF2-40B4-BE49-F238E27FC236}">
                <a16:creationId xmlns:a16="http://schemas.microsoft.com/office/drawing/2014/main" id="{B0DFA82C-218F-2EC5-5A07-10525EED5448}"/>
              </a:ext>
            </a:extLst>
          </p:cNvPr>
          <p:cNvPicPr>
            <a:picLocks noChangeAspect="1"/>
          </p:cNvPicPr>
          <p:nvPr userDrawn="1"/>
        </p:nvPicPr>
        <p:blipFill>
          <a:blip r:embed="rId3">
            <a:extLst>
              <a:ext uri="{28A0092B-C50C-407E-A947-70E740481C1C}">
                <a14:useLocalDpi xmlns:a14="http://schemas.microsoft.com/office/drawing/2010/main" val="0"/>
              </a:ext>
            </a:extLst>
          </a:blip>
          <a:srcRect b="20491"/>
          <a:stretch/>
        </p:blipFill>
        <p:spPr>
          <a:xfrm rot="16200000">
            <a:off x="8830981" y="2632525"/>
            <a:ext cx="4331555" cy="1571272"/>
          </a:xfrm>
          <a:prstGeom prst="rect">
            <a:avLst/>
          </a:prstGeom>
        </p:spPr>
      </p:pic>
      <p:sp>
        <p:nvSpPr>
          <p:cNvPr id="30" name="Title 1">
            <a:extLst>
              <a:ext uri="{FF2B5EF4-FFF2-40B4-BE49-F238E27FC236}">
                <a16:creationId xmlns:a16="http://schemas.microsoft.com/office/drawing/2014/main" id="{9E658E25-DBC5-300F-FCFC-D27987A1E00C}"/>
              </a:ext>
            </a:extLst>
          </p:cNvPr>
          <p:cNvSpPr>
            <a:spLocks noGrp="1"/>
          </p:cNvSpPr>
          <p:nvPr>
            <p:ph type="ctrTitle"/>
          </p:nvPr>
        </p:nvSpPr>
        <p:spPr>
          <a:xfrm>
            <a:off x="339927" y="1410370"/>
            <a:ext cx="7277259" cy="2935484"/>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31" name="Subtitle 2">
            <a:extLst>
              <a:ext uri="{FF2B5EF4-FFF2-40B4-BE49-F238E27FC236}">
                <a16:creationId xmlns:a16="http://schemas.microsoft.com/office/drawing/2014/main" id="{9DA9A271-F387-EB63-EF8F-7117AD54B087}"/>
              </a:ext>
            </a:extLst>
          </p:cNvPr>
          <p:cNvSpPr>
            <a:spLocks noGrp="1"/>
          </p:cNvSpPr>
          <p:nvPr>
            <p:ph type="subTitle" idx="1"/>
          </p:nvPr>
        </p:nvSpPr>
        <p:spPr>
          <a:xfrm>
            <a:off x="339927" y="4489402"/>
            <a:ext cx="7277259" cy="1189457"/>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15" indent="0" algn="ctr">
              <a:buNone/>
              <a:defRPr sz="672"/>
            </a:lvl2pPr>
            <a:lvl3pPr marL="307231" indent="0" algn="ctr">
              <a:buNone/>
              <a:defRPr sz="605"/>
            </a:lvl3pPr>
            <a:lvl4pPr marL="460846" indent="0" algn="ctr">
              <a:buNone/>
              <a:defRPr sz="537"/>
            </a:lvl4pPr>
            <a:lvl5pPr marL="614462" indent="0" algn="ctr">
              <a:buNone/>
              <a:defRPr sz="537"/>
            </a:lvl5pPr>
            <a:lvl6pPr marL="768077" indent="0" algn="ctr">
              <a:buNone/>
              <a:defRPr sz="537"/>
            </a:lvl6pPr>
            <a:lvl7pPr marL="921692" indent="0" algn="ctr">
              <a:buNone/>
              <a:defRPr sz="537"/>
            </a:lvl7pPr>
            <a:lvl8pPr marL="1075308" indent="0" algn="ctr">
              <a:buNone/>
              <a:defRPr sz="537"/>
            </a:lvl8pPr>
            <a:lvl9pPr marL="1228923" indent="0" algn="ctr">
              <a:buNone/>
              <a:defRPr sz="537"/>
            </a:lvl9pPr>
          </a:lstStyle>
          <a:p>
            <a:r>
              <a:rPr lang="en-US"/>
              <a:t>Click to edit Master subtitle style</a:t>
            </a:r>
          </a:p>
        </p:txBody>
      </p:sp>
    </p:spTree>
    <p:extLst>
      <p:ext uri="{BB962C8B-B14F-4D97-AF65-F5344CB8AC3E}">
        <p14:creationId xmlns:p14="http://schemas.microsoft.com/office/powerpoint/2010/main" val="266758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8BCA7F-C8B2-2EAB-78D3-2D3A96C8D77A}"/>
              </a:ext>
            </a:extLst>
          </p:cNvPr>
          <p:cNvSpPr/>
          <p:nvPr userDrawn="1"/>
        </p:nvSpPr>
        <p:spPr>
          <a:xfrm>
            <a:off x="7096240" y="1714501"/>
            <a:ext cx="3389488" cy="1714500"/>
          </a:xfrm>
          <a:prstGeom prst="rect">
            <a:avLst/>
          </a:prstGeom>
          <a:gradFill>
            <a:gsLst>
              <a:gs pos="0">
                <a:schemeClr val="accent2"/>
              </a:gs>
              <a:gs pos="99000">
                <a:schemeClr val="accent2">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5" name="Rectangle 4">
            <a:extLst>
              <a:ext uri="{FF2B5EF4-FFF2-40B4-BE49-F238E27FC236}">
                <a16:creationId xmlns:a16="http://schemas.microsoft.com/office/drawing/2014/main" id="{5466C6F8-2B27-2842-9BAC-9AF491E2A5BD}"/>
              </a:ext>
            </a:extLst>
          </p:cNvPr>
          <p:cNvSpPr/>
          <p:nvPr userDrawn="1"/>
        </p:nvSpPr>
        <p:spPr>
          <a:xfrm>
            <a:off x="10479809" y="3429001"/>
            <a:ext cx="1718169" cy="17145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6" name="Rectangle 5">
            <a:extLst>
              <a:ext uri="{FF2B5EF4-FFF2-40B4-BE49-F238E27FC236}">
                <a16:creationId xmlns:a16="http://schemas.microsoft.com/office/drawing/2014/main" id="{126FEAA7-718C-BA58-3707-BEEEEF6297E5}"/>
              </a:ext>
            </a:extLst>
          </p:cNvPr>
          <p:cNvSpPr/>
          <p:nvPr userDrawn="1"/>
        </p:nvSpPr>
        <p:spPr>
          <a:xfrm>
            <a:off x="10479809" y="1"/>
            <a:ext cx="1718169" cy="17145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9" name="Rectangle 8">
            <a:extLst>
              <a:ext uri="{FF2B5EF4-FFF2-40B4-BE49-F238E27FC236}">
                <a16:creationId xmlns:a16="http://schemas.microsoft.com/office/drawing/2014/main" id="{CC7EBDF5-4AD4-0B97-27FA-52C569C8E891}"/>
              </a:ext>
            </a:extLst>
          </p:cNvPr>
          <p:cNvSpPr/>
          <p:nvPr userDrawn="1"/>
        </p:nvSpPr>
        <p:spPr>
          <a:xfrm>
            <a:off x="7058403" y="5143501"/>
            <a:ext cx="3389488" cy="1714500"/>
          </a:xfrm>
          <a:prstGeom prst="rect">
            <a:avLst/>
          </a:prstGeom>
          <a:gradFill>
            <a:gsLst>
              <a:gs pos="0">
                <a:schemeClr val="accent2"/>
              </a:gs>
              <a:gs pos="99000">
                <a:schemeClr val="accent2">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10" name="Title 1">
            <a:extLst>
              <a:ext uri="{FF2B5EF4-FFF2-40B4-BE49-F238E27FC236}">
                <a16:creationId xmlns:a16="http://schemas.microsoft.com/office/drawing/2014/main" id="{FB22B38F-E764-4E4E-92C3-141564532EED}"/>
              </a:ext>
            </a:extLst>
          </p:cNvPr>
          <p:cNvSpPr>
            <a:spLocks noGrp="1"/>
          </p:cNvSpPr>
          <p:nvPr userDrawn="1">
            <p:ph type="ctrTitle"/>
          </p:nvPr>
        </p:nvSpPr>
        <p:spPr>
          <a:xfrm>
            <a:off x="362969" y="1410369"/>
            <a:ext cx="6701220" cy="679123"/>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E59A4AA8-3942-4B28-831C-52B811BF81B2}"/>
              </a:ext>
            </a:extLst>
          </p:cNvPr>
          <p:cNvSpPr>
            <a:spLocks noGrp="1"/>
          </p:cNvSpPr>
          <p:nvPr userDrawn="1">
            <p:ph type="subTitle" idx="1"/>
          </p:nvPr>
        </p:nvSpPr>
        <p:spPr>
          <a:xfrm>
            <a:off x="362969" y="2424233"/>
            <a:ext cx="6701220" cy="3372929"/>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00" indent="0" algn="ctr">
              <a:buNone/>
              <a:defRPr sz="672"/>
            </a:lvl2pPr>
            <a:lvl3pPr marL="307200" indent="0" algn="ctr">
              <a:buNone/>
              <a:defRPr sz="605"/>
            </a:lvl3pPr>
            <a:lvl4pPr marL="460800" indent="0" algn="ctr">
              <a:buNone/>
              <a:defRPr sz="537"/>
            </a:lvl4pPr>
            <a:lvl5pPr marL="614399" indent="0" algn="ctr">
              <a:buNone/>
              <a:defRPr sz="537"/>
            </a:lvl5pPr>
            <a:lvl6pPr marL="767999" indent="0" algn="ctr">
              <a:buNone/>
              <a:defRPr sz="537"/>
            </a:lvl6pPr>
            <a:lvl7pPr marL="921600" indent="0" algn="ctr">
              <a:buNone/>
              <a:defRPr sz="537"/>
            </a:lvl7pPr>
            <a:lvl8pPr marL="1075200" indent="0" algn="ctr">
              <a:buNone/>
              <a:defRPr sz="537"/>
            </a:lvl8pPr>
            <a:lvl9pPr marL="1228800" indent="0" algn="ctr">
              <a:buNone/>
              <a:defRPr sz="537"/>
            </a:lvl9pPr>
          </a:lstStyle>
          <a:p>
            <a:r>
              <a:rPr lang="en-US"/>
              <a:t>Click to edit Master subtitle style</a:t>
            </a:r>
          </a:p>
        </p:txBody>
      </p:sp>
      <p:sp>
        <p:nvSpPr>
          <p:cNvPr id="3" name="TextBox 2">
            <a:extLst>
              <a:ext uri="{FF2B5EF4-FFF2-40B4-BE49-F238E27FC236}">
                <a16:creationId xmlns:a16="http://schemas.microsoft.com/office/drawing/2014/main" id="{B2BE4C95-7546-E6E6-95BD-8DBEC6FD0A61}"/>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spTree>
    <p:extLst>
      <p:ext uri="{BB962C8B-B14F-4D97-AF65-F5344CB8AC3E}">
        <p14:creationId xmlns:p14="http://schemas.microsoft.com/office/powerpoint/2010/main" val="380476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 Head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9F6E7-560F-CCDD-E6F2-450FB4201FAF}"/>
              </a:ext>
            </a:extLst>
          </p:cNvPr>
          <p:cNvSpPr>
            <a:spLocks noGrp="1" noChangeAspect="1"/>
          </p:cNvSpPr>
          <p:nvPr>
            <p:ph type="title" hasCustomPrompt="1"/>
          </p:nvPr>
        </p:nvSpPr>
        <p:spPr>
          <a:xfrm>
            <a:off x="338340" y="369520"/>
            <a:ext cx="9520515" cy="446627"/>
          </a:xfrm>
          <a:prstGeom prst="rect">
            <a:avLst/>
          </a:prstGeom>
        </p:spPr>
        <p:txBody>
          <a:bodyPr>
            <a:noAutofit/>
          </a:bodyPr>
          <a:lstStyle>
            <a:lvl1pPr>
              <a:defRPr sz="2667" b="1">
                <a:solidFill>
                  <a:schemeClr val="bg2"/>
                </a:solidFill>
                <a:latin typeface="+mj-lt"/>
              </a:defRPr>
            </a:lvl1pPr>
          </a:lstStyle>
          <a:p>
            <a:r>
              <a:rPr lang="en-US"/>
              <a:t>Click to edit master title style</a:t>
            </a:r>
          </a:p>
        </p:txBody>
      </p:sp>
      <p:sp>
        <p:nvSpPr>
          <p:cNvPr id="7" name="Text Placeholder 2">
            <a:extLst>
              <a:ext uri="{FF2B5EF4-FFF2-40B4-BE49-F238E27FC236}">
                <a16:creationId xmlns:a16="http://schemas.microsoft.com/office/drawing/2014/main" id="{D690464B-F443-61D5-71DC-BAA8DDEAF208}"/>
              </a:ext>
            </a:extLst>
          </p:cNvPr>
          <p:cNvSpPr>
            <a:spLocks noGrp="1" noChangeAspect="1"/>
          </p:cNvSpPr>
          <p:nvPr>
            <p:ph type="body" idx="1" hasCustomPrompt="1"/>
          </p:nvPr>
        </p:nvSpPr>
        <p:spPr>
          <a:xfrm>
            <a:off x="338340" y="968476"/>
            <a:ext cx="9520515" cy="445001"/>
          </a:xfrm>
          <a:prstGeom prst="rect">
            <a:avLst/>
          </a:prstGeom>
        </p:spPr>
        <p:txBody>
          <a:bodyPr anchor="t">
            <a:noAutofit/>
          </a:bodyPr>
          <a:lstStyle>
            <a:lvl1pPr marL="0" indent="0">
              <a:spcBef>
                <a:spcPts val="0"/>
              </a:spcBef>
              <a:buNone/>
              <a:defRPr sz="2400" b="0">
                <a:solidFill>
                  <a:schemeClr val="bg2"/>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15" name="Picture 14">
            <a:extLst>
              <a:ext uri="{FF2B5EF4-FFF2-40B4-BE49-F238E27FC236}">
                <a16:creationId xmlns:a16="http://schemas.microsoft.com/office/drawing/2014/main" id="{978C154A-7529-A582-DE75-BC86C9F9284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039995" y="-1"/>
            <a:ext cx="5160472" cy="6857996"/>
          </a:xfrm>
          <a:prstGeom prst="rect">
            <a:avLst/>
          </a:prstGeom>
        </p:spPr>
      </p:pic>
      <p:cxnSp>
        <p:nvCxnSpPr>
          <p:cNvPr id="3" name="Straight Connector 2">
            <a:extLst>
              <a:ext uri="{FF2B5EF4-FFF2-40B4-BE49-F238E27FC236}">
                <a16:creationId xmlns:a16="http://schemas.microsoft.com/office/drawing/2014/main" id="{ED55DF1D-7CC4-7A4B-69EC-9790F0C177A1}"/>
              </a:ext>
            </a:extLst>
          </p:cNvPr>
          <p:cNvCxnSpPr>
            <a:cxnSpLocks noChangeAspect="1"/>
          </p:cNvCxnSpPr>
          <p:nvPr userDrawn="1"/>
        </p:nvCxnSpPr>
        <p:spPr>
          <a:xfrm>
            <a:off x="653243" y="2547512"/>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6E9A4E6-A8E5-4629-DC0D-EE8C85A32A3D}"/>
              </a:ext>
            </a:extLst>
          </p:cNvPr>
          <p:cNvCxnSpPr>
            <a:cxnSpLocks noChangeAspect="1"/>
          </p:cNvCxnSpPr>
          <p:nvPr userDrawn="1"/>
        </p:nvCxnSpPr>
        <p:spPr>
          <a:xfrm>
            <a:off x="653243" y="3290181"/>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3B49765-7122-0307-4C4C-F3AAB697C8C9}"/>
              </a:ext>
            </a:extLst>
          </p:cNvPr>
          <p:cNvCxnSpPr>
            <a:cxnSpLocks noChangeAspect="1"/>
          </p:cNvCxnSpPr>
          <p:nvPr userDrawn="1"/>
        </p:nvCxnSpPr>
        <p:spPr>
          <a:xfrm>
            <a:off x="653243" y="4032850"/>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80578D-2919-01BF-D13A-EB8C6654EDA4}"/>
              </a:ext>
            </a:extLst>
          </p:cNvPr>
          <p:cNvCxnSpPr>
            <a:cxnSpLocks noChangeAspect="1"/>
          </p:cNvCxnSpPr>
          <p:nvPr userDrawn="1"/>
        </p:nvCxnSpPr>
        <p:spPr>
          <a:xfrm>
            <a:off x="653243" y="4775520"/>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144EDCE-A92C-700B-AA34-40B6B6AED76C}"/>
              </a:ext>
            </a:extLst>
          </p:cNvPr>
          <p:cNvCxnSpPr>
            <a:cxnSpLocks noChangeAspect="1"/>
          </p:cNvCxnSpPr>
          <p:nvPr userDrawn="1"/>
        </p:nvCxnSpPr>
        <p:spPr>
          <a:xfrm>
            <a:off x="653243" y="5518189"/>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C21EC860-5F46-FE89-A49F-7E60FEFE74BC}"/>
              </a:ext>
            </a:extLst>
          </p:cNvPr>
          <p:cNvSpPr>
            <a:spLocks noGrp="1" noChangeAspect="1"/>
          </p:cNvSpPr>
          <p:nvPr>
            <p:ph sz="half" idx="2" hasCustomPrompt="1"/>
          </p:nvPr>
        </p:nvSpPr>
        <p:spPr>
          <a:xfrm>
            <a:off x="1286933" y="418477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2" name="Content Placeholder 3">
            <a:extLst>
              <a:ext uri="{FF2B5EF4-FFF2-40B4-BE49-F238E27FC236}">
                <a16:creationId xmlns:a16="http://schemas.microsoft.com/office/drawing/2014/main" id="{A591285F-65AD-B59C-0E1C-C9ADAB629EEA}"/>
              </a:ext>
            </a:extLst>
          </p:cNvPr>
          <p:cNvSpPr>
            <a:spLocks noGrp="1" noChangeAspect="1"/>
          </p:cNvSpPr>
          <p:nvPr>
            <p:ph sz="half" idx="13" hasCustomPrompt="1"/>
          </p:nvPr>
        </p:nvSpPr>
        <p:spPr>
          <a:xfrm>
            <a:off x="1286933" y="3442110"/>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3" name="Content Placeholder 3">
            <a:extLst>
              <a:ext uri="{FF2B5EF4-FFF2-40B4-BE49-F238E27FC236}">
                <a16:creationId xmlns:a16="http://schemas.microsoft.com/office/drawing/2014/main" id="{8434F395-2E67-36D1-AC77-278FDA9D6D74}"/>
              </a:ext>
            </a:extLst>
          </p:cNvPr>
          <p:cNvSpPr>
            <a:spLocks noGrp="1" noChangeAspect="1"/>
          </p:cNvSpPr>
          <p:nvPr>
            <p:ph sz="half" idx="14" hasCustomPrompt="1"/>
          </p:nvPr>
        </p:nvSpPr>
        <p:spPr>
          <a:xfrm>
            <a:off x="1286933" y="1956771"/>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4" name="Content Placeholder 3">
            <a:extLst>
              <a:ext uri="{FF2B5EF4-FFF2-40B4-BE49-F238E27FC236}">
                <a16:creationId xmlns:a16="http://schemas.microsoft.com/office/drawing/2014/main" id="{E008CF17-5182-C05F-DDE9-2AE8F9A27C21}"/>
              </a:ext>
            </a:extLst>
          </p:cNvPr>
          <p:cNvSpPr>
            <a:spLocks noGrp="1" noChangeAspect="1"/>
          </p:cNvSpPr>
          <p:nvPr>
            <p:ph sz="half" idx="15" hasCustomPrompt="1"/>
          </p:nvPr>
        </p:nvSpPr>
        <p:spPr>
          <a:xfrm>
            <a:off x="1286933" y="2699441"/>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5" name="Content Placeholder 3">
            <a:extLst>
              <a:ext uri="{FF2B5EF4-FFF2-40B4-BE49-F238E27FC236}">
                <a16:creationId xmlns:a16="http://schemas.microsoft.com/office/drawing/2014/main" id="{E95B4912-CA04-E6A1-C21C-8C81310DE8EF}"/>
              </a:ext>
            </a:extLst>
          </p:cNvPr>
          <p:cNvSpPr>
            <a:spLocks noGrp="1" noChangeAspect="1"/>
          </p:cNvSpPr>
          <p:nvPr>
            <p:ph sz="half" idx="16" hasCustomPrompt="1"/>
          </p:nvPr>
        </p:nvSpPr>
        <p:spPr>
          <a:xfrm>
            <a:off x="1286933" y="492744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6" name="Content Placeholder 3">
            <a:extLst>
              <a:ext uri="{FF2B5EF4-FFF2-40B4-BE49-F238E27FC236}">
                <a16:creationId xmlns:a16="http://schemas.microsoft.com/office/drawing/2014/main" id="{AB6C2699-7C67-F9E8-8E92-5B977E6858EC}"/>
              </a:ext>
            </a:extLst>
          </p:cNvPr>
          <p:cNvSpPr>
            <a:spLocks noGrp="1" noChangeAspect="1"/>
          </p:cNvSpPr>
          <p:nvPr>
            <p:ph sz="half" idx="17" hasCustomPrompt="1"/>
          </p:nvPr>
        </p:nvSpPr>
        <p:spPr>
          <a:xfrm>
            <a:off x="1286933" y="567011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Tree>
    <p:extLst>
      <p:ext uri="{BB962C8B-B14F-4D97-AF65-F5344CB8AC3E}">
        <p14:creationId xmlns:p14="http://schemas.microsoft.com/office/powerpoint/2010/main" val="2341058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40400E-0CC2-7538-B899-F34BFCD14262}"/>
              </a:ext>
            </a:extLst>
          </p:cNvPr>
          <p:cNvGraphicFramePr>
            <a:graphicFrameLocks noChangeAspect="1"/>
          </p:cNvGraphicFramePr>
          <p:nvPr userDrawn="1">
            <p:custDataLst>
              <p:tags r:id="rId1"/>
            </p:custDataLst>
            <p:extLst>
              <p:ext uri="{D42A27DB-BD31-4B8C-83A1-F6EECF244321}">
                <p14:modId xmlns:p14="http://schemas.microsoft.com/office/powerpoint/2010/main" val="3354948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3" name="think-cell data - do not delete" hidden="1">
                        <a:extLst>
                          <a:ext uri="{FF2B5EF4-FFF2-40B4-BE49-F238E27FC236}">
                            <a16:creationId xmlns:a16="http://schemas.microsoft.com/office/drawing/2014/main" id="{EB40400E-0CC2-7538-B899-F34BFCD142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1">
            <a:extLst>
              <a:ext uri="{FF2B5EF4-FFF2-40B4-BE49-F238E27FC236}">
                <a16:creationId xmlns:a16="http://schemas.microsoft.com/office/drawing/2014/main" id="{09666D81-9DBA-155B-6167-CC606E9250D0}"/>
              </a:ext>
            </a:extLst>
          </p:cNvPr>
          <p:cNvSpPr/>
          <p:nvPr userDrawn="1"/>
        </p:nvSpPr>
        <p:spPr>
          <a:xfrm>
            <a:off x="10329888" y="1"/>
            <a:ext cx="1862113" cy="177215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316871 w 914400"/>
              <a:gd name="connsiteY3" fmla="*/ 624689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R" sz="2400"/>
          </a:p>
        </p:txBody>
      </p:sp>
      <p:sp>
        <p:nvSpPr>
          <p:cNvPr id="12" name="Rectangle 11">
            <a:extLst>
              <a:ext uri="{FF2B5EF4-FFF2-40B4-BE49-F238E27FC236}">
                <a16:creationId xmlns:a16="http://schemas.microsoft.com/office/drawing/2014/main" id="{A7F8A7B6-FA19-2772-B13F-FD82CCB4755F}"/>
              </a:ext>
            </a:extLst>
          </p:cNvPr>
          <p:cNvSpPr/>
          <p:nvPr userDrawn="1"/>
        </p:nvSpPr>
        <p:spPr>
          <a:xfrm>
            <a:off x="10135287" y="207429"/>
            <a:ext cx="1852479" cy="1772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latin typeface="Arial" panose="020B0604020202020204" pitchFamily="34" charset="0"/>
            </a:endParaRPr>
          </a:p>
        </p:txBody>
      </p:sp>
      <p:cxnSp>
        <p:nvCxnSpPr>
          <p:cNvPr id="14" name="Straight Connector 13">
            <a:extLst>
              <a:ext uri="{FF2B5EF4-FFF2-40B4-BE49-F238E27FC236}">
                <a16:creationId xmlns:a16="http://schemas.microsoft.com/office/drawing/2014/main" id="{B65BD2A9-2A08-C333-8EFD-542946273CE8}"/>
              </a:ext>
            </a:extLst>
          </p:cNvPr>
          <p:cNvCxnSpPr>
            <a:cxnSpLocks/>
          </p:cNvCxnSpPr>
          <p:nvPr userDrawn="1"/>
        </p:nvCxnSpPr>
        <p:spPr>
          <a:xfrm>
            <a:off x="338148" y="1513703"/>
            <a:ext cx="11532259" cy="0"/>
          </a:xfrm>
          <a:prstGeom prst="line">
            <a:avLst/>
          </a:prstGeom>
          <a:ln w="3175">
            <a:solidFill>
              <a:srgbClr val="11112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EA83D69-1165-142C-50AE-215258E1B8BA}"/>
              </a:ext>
            </a:extLst>
          </p:cNvPr>
          <p:cNvCxnSpPr>
            <a:cxnSpLocks/>
          </p:cNvCxnSpPr>
          <p:nvPr userDrawn="1"/>
        </p:nvCxnSpPr>
        <p:spPr>
          <a:xfrm>
            <a:off x="372775" y="6531572"/>
            <a:ext cx="1114056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Content Placeholder 46">
            <a:extLst>
              <a:ext uri="{FF2B5EF4-FFF2-40B4-BE49-F238E27FC236}">
                <a16:creationId xmlns:a16="http://schemas.microsoft.com/office/drawing/2014/main" id="{323BB06E-460E-1867-EB16-9D781E753F36}"/>
              </a:ext>
            </a:extLst>
          </p:cNvPr>
          <p:cNvSpPr>
            <a:spLocks noGrp="1"/>
          </p:cNvSpPr>
          <p:nvPr>
            <p:ph sz="quarter" idx="15"/>
          </p:nvPr>
        </p:nvSpPr>
        <p:spPr>
          <a:xfrm>
            <a:off x="338148" y="1781325"/>
            <a:ext cx="11527971" cy="4413429"/>
          </a:xfrm>
          <a:prstGeom prst="rect">
            <a:avLst/>
          </a:prstGeom>
        </p:spPr>
        <p:txBody>
          <a:bodyPr>
            <a:normAutofit/>
          </a:bodyPr>
          <a:lstStyle>
            <a:lvl1pPr>
              <a:defRPr sz="1467">
                <a:solidFill>
                  <a:schemeClr val="tx2"/>
                </a:solidFill>
              </a:defRPr>
            </a:lvl1pPr>
          </a:lstStyle>
          <a:p>
            <a:endParaRPr lang="en-US"/>
          </a:p>
        </p:txBody>
      </p:sp>
      <p:sp>
        <p:nvSpPr>
          <p:cNvPr id="9" name="Slide Number Placeholder 8">
            <a:extLst>
              <a:ext uri="{FF2B5EF4-FFF2-40B4-BE49-F238E27FC236}">
                <a16:creationId xmlns:a16="http://schemas.microsoft.com/office/drawing/2014/main" id="{8A4AA85C-D782-4B0C-8E0E-AFB9FB83BE7F}"/>
              </a:ext>
            </a:extLst>
          </p:cNvPr>
          <p:cNvSpPr>
            <a:spLocks noGrp="1"/>
          </p:cNvSpPr>
          <p:nvPr>
            <p:ph type="sldNum" sz="quarter" idx="12"/>
          </p:nvPr>
        </p:nvSpPr>
        <p:spPr>
          <a:xfrm>
            <a:off x="11513342" y="6349010"/>
            <a:ext cx="454541" cy="365125"/>
          </a:xfrm>
          <a:prstGeom prst="rect">
            <a:avLst/>
          </a:prstGeom>
        </p:spPr>
        <p:txBody>
          <a:bodyPr anchor="ctr"/>
          <a:lstStyle>
            <a:lvl1pPr algn="ctr">
              <a:defRPr sz="1067">
                <a:solidFill>
                  <a:schemeClr val="tx1"/>
                </a:solidFill>
              </a:defRPr>
            </a:lvl1pPr>
          </a:lstStyle>
          <a:p>
            <a:fld id="{854859ED-44A4-D445-A4CC-FFA1A5BEF902}" type="slidenum">
              <a:rPr lang="en-US" smtClean="0"/>
              <a:pPr/>
              <a:t>‹#›</a:t>
            </a:fld>
            <a:endParaRPr lang="en-US"/>
          </a:p>
        </p:txBody>
      </p:sp>
      <p:sp>
        <p:nvSpPr>
          <p:cNvPr id="86" name="Text Placeholder 2">
            <a:extLst>
              <a:ext uri="{FF2B5EF4-FFF2-40B4-BE49-F238E27FC236}">
                <a16:creationId xmlns:a16="http://schemas.microsoft.com/office/drawing/2014/main" id="{D572DBE3-E51D-DDD5-A305-E976FBCF68C0}"/>
              </a:ext>
            </a:extLst>
          </p:cNvPr>
          <p:cNvSpPr>
            <a:spLocks noGrp="1" noChangeAspect="1"/>
          </p:cNvSpPr>
          <p:nvPr>
            <p:ph type="body" idx="1" hasCustomPrompt="1"/>
          </p:nvPr>
        </p:nvSpPr>
        <p:spPr>
          <a:xfrm>
            <a:off x="338341" y="968476"/>
            <a:ext cx="10008865" cy="445001"/>
          </a:xfrm>
          <a:prstGeom prst="rect">
            <a:avLst/>
          </a:prstGeom>
        </p:spPr>
        <p:txBody>
          <a:bodyPr anchor="t">
            <a:noAutofit/>
          </a:bodyPr>
          <a:lstStyle>
            <a:lvl1pPr marL="0" indent="0">
              <a:spcBef>
                <a:spcPts val="0"/>
              </a:spcBef>
              <a:buNone/>
              <a:defRPr sz="2400" b="0">
                <a:solidFill>
                  <a:schemeClr val="accent1"/>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13" name="Picture 12">
            <a:extLst>
              <a:ext uri="{FF2B5EF4-FFF2-40B4-BE49-F238E27FC236}">
                <a16:creationId xmlns:a16="http://schemas.microsoft.com/office/drawing/2014/main" id="{CDBDDF7D-008F-1B15-0F3D-D59F83AE363C}"/>
              </a:ext>
            </a:extLst>
          </p:cNvPr>
          <p:cNvPicPr>
            <a:picLocks noChangeAspect="1"/>
          </p:cNvPicPr>
          <p:nvPr userDrawn="1"/>
        </p:nvPicPr>
        <p:blipFill>
          <a:blip r:embed="rId5">
            <a:extLst>
              <a:ext uri="{28A0092B-C50C-407E-A947-70E740481C1C}">
                <a14:useLocalDpi xmlns:a14="http://schemas.microsoft.com/office/drawing/2010/main" val="0"/>
              </a:ext>
            </a:extLst>
          </a:blip>
          <a:srcRect t="1" b="-510"/>
          <a:stretch/>
        </p:blipFill>
        <p:spPr>
          <a:xfrm>
            <a:off x="10789364" y="355711"/>
            <a:ext cx="1044563" cy="476968"/>
          </a:xfrm>
          <a:prstGeom prst="rect">
            <a:avLst/>
          </a:prstGeom>
        </p:spPr>
      </p:pic>
    </p:spTree>
    <p:extLst>
      <p:ext uri="{BB962C8B-B14F-4D97-AF65-F5344CB8AC3E}">
        <p14:creationId xmlns:p14="http://schemas.microsoft.com/office/powerpoint/2010/main" val="191041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amp; image">
    <p:bg>
      <p:bgRef idx="1001">
        <a:schemeClr val="bg2"/>
      </p:bgRef>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1D3D216C-F07E-4A2C-9293-8DD9F8DA1E4D}"/>
              </a:ext>
            </a:extLst>
          </p:cNvPr>
          <p:cNvSpPr/>
          <p:nvPr userDrawn="1"/>
        </p:nvSpPr>
        <p:spPr>
          <a:xfrm>
            <a:off x="7293416" y="0"/>
            <a:ext cx="4898584" cy="4898499"/>
          </a:xfrm>
          <a:custGeom>
            <a:avLst/>
            <a:gdLst>
              <a:gd name="connsiteX0" fmla="*/ 4890573 w 4890573"/>
              <a:gd name="connsiteY0" fmla="*/ 4890487 h 4890487"/>
              <a:gd name="connsiteX1" fmla="*/ 2445244 w 4890573"/>
              <a:gd name="connsiteY1" fmla="*/ 4890487 h 4890487"/>
              <a:gd name="connsiteX2" fmla="*/ 0 w 4890573"/>
              <a:gd name="connsiteY2" fmla="*/ 0 h 4890487"/>
              <a:gd name="connsiteX3" fmla="*/ 4890573 w 4890573"/>
              <a:gd name="connsiteY3" fmla="*/ 0 h 4890487"/>
            </a:gdLst>
            <a:ahLst/>
            <a:cxnLst>
              <a:cxn ang="0">
                <a:pos x="connsiteX0" y="connsiteY0"/>
              </a:cxn>
              <a:cxn ang="0">
                <a:pos x="connsiteX1" y="connsiteY1"/>
              </a:cxn>
              <a:cxn ang="0">
                <a:pos x="connsiteX2" y="connsiteY2"/>
              </a:cxn>
              <a:cxn ang="0">
                <a:pos x="connsiteX3" y="connsiteY3"/>
              </a:cxn>
            </a:cxnLst>
            <a:rect l="l" t="t" r="r" b="b"/>
            <a:pathLst>
              <a:path w="4890573" h="4890487">
                <a:moveTo>
                  <a:pt x="4890573" y="4890487"/>
                </a:moveTo>
                <a:lnTo>
                  <a:pt x="2445244" y="4890487"/>
                </a:lnTo>
                <a:lnTo>
                  <a:pt x="0" y="0"/>
                </a:lnTo>
                <a:lnTo>
                  <a:pt x="4890573" y="0"/>
                </a:lnTo>
                <a:close/>
              </a:path>
            </a:pathLst>
          </a:custGeom>
          <a:solidFill>
            <a:schemeClr val="tx1"/>
          </a:solidFill>
          <a:ln w="8624" cap="flat">
            <a:noFill/>
            <a:prstDash val="solid"/>
            <a:miter/>
          </a:ln>
        </p:spPr>
        <p:txBody>
          <a:bodyPr rtlCol="0" anchor="ctr"/>
          <a:lstStyle/>
          <a:p>
            <a:endParaRPr lang="en-US" sz="1600">
              <a:latin typeface="Arial" panose="020B0604020202020204" pitchFamily="34" charset="0"/>
            </a:endParaRPr>
          </a:p>
        </p:txBody>
      </p:sp>
      <p:sp>
        <p:nvSpPr>
          <p:cNvPr id="5" name="Freeform: Shape 4">
            <a:extLst>
              <a:ext uri="{FF2B5EF4-FFF2-40B4-BE49-F238E27FC236}">
                <a16:creationId xmlns:a16="http://schemas.microsoft.com/office/drawing/2014/main" id="{F9963A3F-6E73-4B03-863E-E641CB4EA669}"/>
              </a:ext>
            </a:extLst>
          </p:cNvPr>
          <p:cNvSpPr/>
          <p:nvPr userDrawn="1"/>
        </p:nvSpPr>
        <p:spPr>
          <a:xfrm>
            <a:off x="9741024" y="4898498"/>
            <a:ext cx="2450976" cy="1959503"/>
          </a:xfrm>
          <a:custGeom>
            <a:avLst/>
            <a:gdLst>
              <a:gd name="connsiteX0" fmla="*/ 2446969 w 2446968"/>
              <a:gd name="connsiteY0" fmla="*/ 0 h 1956298"/>
              <a:gd name="connsiteX1" fmla="*/ 0 w 2446968"/>
              <a:gd name="connsiteY1" fmla="*/ 0 h 1956298"/>
              <a:gd name="connsiteX2" fmla="*/ 978149 w 2446968"/>
              <a:gd name="connsiteY2" fmla="*/ 1956299 h 1956298"/>
              <a:gd name="connsiteX3" fmla="*/ 2446969 w 2446968"/>
              <a:gd name="connsiteY3" fmla="*/ 1956299 h 1956298"/>
            </a:gdLst>
            <a:ahLst/>
            <a:cxnLst>
              <a:cxn ang="0">
                <a:pos x="connsiteX0" y="connsiteY0"/>
              </a:cxn>
              <a:cxn ang="0">
                <a:pos x="connsiteX1" y="connsiteY1"/>
              </a:cxn>
              <a:cxn ang="0">
                <a:pos x="connsiteX2" y="connsiteY2"/>
              </a:cxn>
              <a:cxn ang="0">
                <a:pos x="connsiteX3" y="connsiteY3"/>
              </a:cxn>
            </a:cxnLst>
            <a:rect l="l" t="t" r="r" b="b"/>
            <a:pathLst>
              <a:path w="2446968" h="1956298">
                <a:moveTo>
                  <a:pt x="2446969" y="0"/>
                </a:moveTo>
                <a:lnTo>
                  <a:pt x="0" y="0"/>
                </a:lnTo>
                <a:lnTo>
                  <a:pt x="978149" y="1956299"/>
                </a:lnTo>
                <a:lnTo>
                  <a:pt x="2446969" y="1956299"/>
                </a:lnTo>
                <a:close/>
              </a:path>
            </a:pathLst>
          </a:custGeom>
          <a:solidFill>
            <a:srgbClr val="089ED1"/>
          </a:solidFill>
          <a:ln w="8624" cap="flat">
            <a:noFill/>
            <a:prstDash val="solid"/>
            <a:miter/>
          </a:ln>
        </p:spPr>
        <p:txBody>
          <a:bodyPr rtlCol="0" anchor="ctr"/>
          <a:lstStyle/>
          <a:p>
            <a:endParaRPr lang="en-US" sz="1600">
              <a:latin typeface="Arial" panose="020B0604020202020204" pitchFamily="34" charset="0"/>
            </a:endParaRPr>
          </a:p>
        </p:txBody>
      </p:sp>
      <p:pic>
        <p:nvPicPr>
          <p:cNvPr id="7" name="Picture 6" descr="A black and orange logo&#10;&#10;Description automatically generated">
            <a:extLst>
              <a:ext uri="{FF2B5EF4-FFF2-40B4-BE49-F238E27FC236}">
                <a16:creationId xmlns:a16="http://schemas.microsoft.com/office/drawing/2014/main" id="{916F59E3-4697-709F-C5B5-12C03D64DB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60306" y="336896"/>
            <a:ext cx="1354879" cy="615273"/>
          </a:xfrm>
          <a:prstGeom prst="rect">
            <a:avLst/>
          </a:prstGeom>
        </p:spPr>
      </p:pic>
      <p:sp>
        <p:nvSpPr>
          <p:cNvPr id="6" name="Picture Placeholder 2">
            <a:extLst>
              <a:ext uri="{FF2B5EF4-FFF2-40B4-BE49-F238E27FC236}">
                <a16:creationId xmlns:a16="http://schemas.microsoft.com/office/drawing/2014/main" id="{2C22D2B2-7EE4-52C1-499B-A73258F2993C}"/>
              </a:ext>
            </a:extLst>
          </p:cNvPr>
          <p:cNvSpPr>
            <a:spLocks noGrp="1"/>
          </p:cNvSpPr>
          <p:nvPr>
            <p:ph type="pic" sz="quarter" idx="11"/>
          </p:nvPr>
        </p:nvSpPr>
        <p:spPr>
          <a:xfrm>
            <a:off x="2" y="1"/>
            <a:ext cx="9741023" cy="4898497"/>
          </a:xfrm>
          <a:custGeom>
            <a:avLst/>
            <a:gdLst>
              <a:gd name="connsiteX0" fmla="*/ 0 w 9885363"/>
              <a:gd name="connsiteY0" fmla="*/ 0 h 4899025"/>
              <a:gd name="connsiteX1" fmla="*/ 9885363 w 9885363"/>
              <a:gd name="connsiteY1" fmla="*/ 0 h 4899025"/>
              <a:gd name="connsiteX2" fmla="*/ 9885363 w 9885363"/>
              <a:gd name="connsiteY2" fmla="*/ 4899025 h 4899025"/>
              <a:gd name="connsiteX3" fmla="*/ 0 w 9885363"/>
              <a:gd name="connsiteY3" fmla="*/ 4899025 h 4899025"/>
              <a:gd name="connsiteX4" fmla="*/ 0 w 9885363"/>
              <a:gd name="connsiteY4" fmla="*/ 0 h 4899025"/>
              <a:gd name="connsiteX0" fmla="*/ 0 w 9885363"/>
              <a:gd name="connsiteY0" fmla="*/ 0 h 4899025"/>
              <a:gd name="connsiteX1" fmla="*/ 7315784 w 9885363"/>
              <a:gd name="connsiteY1" fmla="*/ 0 h 4899025"/>
              <a:gd name="connsiteX2" fmla="*/ 9885363 w 9885363"/>
              <a:gd name="connsiteY2" fmla="*/ 4899025 h 4899025"/>
              <a:gd name="connsiteX3" fmla="*/ 0 w 9885363"/>
              <a:gd name="connsiteY3" fmla="*/ 4899025 h 4899025"/>
              <a:gd name="connsiteX4" fmla="*/ 0 w 9885363"/>
              <a:gd name="connsiteY4" fmla="*/ 0 h 4899025"/>
              <a:gd name="connsiteX0" fmla="*/ 0 w 9746467"/>
              <a:gd name="connsiteY0" fmla="*/ 0 h 4899025"/>
              <a:gd name="connsiteX1" fmla="*/ 7315784 w 9746467"/>
              <a:gd name="connsiteY1" fmla="*/ 0 h 4899025"/>
              <a:gd name="connsiteX2" fmla="*/ 9746467 w 9746467"/>
              <a:gd name="connsiteY2" fmla="*/ 4887450 h 4899025"/>
              <a:gd name="connsiteX3" fmla="*/ 0 w 9746467"/>
              <a:gd name="connsiteY3" fmla="*/ 4899025 h 4899025"/>
              <a:gd name="connsiteX4" fmla="*/ 0 w 9746467"/>
              <a:gd name="connsiteY4" fmla="*/ 0 h 4899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6467" h="4899025">
                <a:moveTo>
                  <a:pt x="0" y="0"/>
                </a:moveTo>
                <a:lnTo>
                  <a:pt x="7315784" y="0"/>
                </a:lnTo>
                <a:lnTo>
                  <a:pt x="9746467" y="4887450"/>
                </a:lnTo>
                <a:lnTo>
                  <a:pt x="0" y="4899025"/>
                </a:lnTo>
                <a:lnTo>
                  <a:pt x="0" y="0"/>
                </a:lnTo>
                <a:close/>
              </a:path>
            </a:pathLst>
          </a:custGeom>
        </p:spPr>
        <p:txBody>
          <a:bodyPr>
            <a:normAutofit/>
          </a:bodyPr>
          <a:lstStyle>
            <a:lvl1pPr>
              <a:defRPr sz="2400"/>
            </a:lvl1pPr>
          </a:lstStyle>
          <a:p>
            <a:endParaRPr lang="en-US"/>
          </a:p>
        </p:txBody>
      </p:sp>
      <p:sp>
        <p:nvSpPr>
          <p:cNvPr id="8" name="Title 1">
            <a:extLst>
              <a:ext uri="{FF2B5EF4-FFF2-40B4-BE49-F238E27FC236}">
                <a16:creationId xmlns:a16="http://schemas.microsoft.com/office/drawing/2014/main" id="{1FA447C4-612E-007A-0D1E-3E4226464A0E}"/>
              </a:ext>
            </a:extLst>
          </p:cNvPr>
          <p:cNvSpPr>
            <a:spLocks noGrp="1"/>
          </p:cNvSpPr>
          <p:nvPr>
            <p:ph type="title" hasCustomPrompt="1"/>
          </p:nvPr>
        </p:nvSpPr>
        <p:spPr>
          <a:xfrm>
            <a:off x="340242" y="5188688"/>
            <a:ext cx="9400783" cy="1360968"/>
          </a:xfrm>
          <a:prstGeom prst="rect">
            <a:avLst/>
          </a:prstGeom>
        </p:spPr>
        <p:txBody>
          <a:bodyPr anchor="ctr">
            <a:noAutofit/>
          </a:bodyPr>
          <a:lstStyle>
            <a:lvl1pPr algn="l">
              <a:defRPr sz="2667" b="1">
                <a:solidFill>
                  <a:schemeClr val="tx1"/>
                </a:solidFill>
                <a:latin typeface="Arial" panose="020B0604020202020204" pitchFamily="34" charset="0"/>
              </a:defRPr>
            </a:lvl1pPr>
          </a:lstStyle>
          <a:p>
            <a:r>
              <a:rPr lang="en-US"/>
              <a:t>INSERT TEXT HERE</a:t>
            </a:r>
          </a:p>
        </p:txBody>
      </p:sp>
    </p:spTree>
    <p:extLst>
      <p:ext uri="{BB962C8B-B14F-4D97-AF65-F5344CB8AC3E}">
        <p14:creationId xmlns:p14="http://schemas.microsoft.com/office/powerpoint/2010/main" val="268015988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40ED31-1120-40ED-0A49-D9EC9337D149}"/>
              </a:ext>
            </a:extLst>
          </p:cNvPr>
          <p:cNvSpPr/>
          <p:nvPr userDrawn="1"/>
        </p:nvSpPr>
        <p:spPr>
          <a:xfrm>
            <a:off x="0" y="1435696"/>
            <a:ext cx="2525787" cy="542230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605"/>
          </a:p>
        </p:txBody>
      </p:sp>
      <p:sp>
        <p:nvSpPr>
          <p:cNvPr id="7" name="Picture Placeholder 2">
            <a:extLst>
              <a:ext uri="{FF2B5EF4-FFF2-40B4-BE49-F238E27FC236}">
                <a16:creationId xmlns:a16="http://schemas.microsoft.com/office/drawing/2014/main" id="{9A622042-DDCC-B534-2154-FC4849230F49}"/>
              </a:ext>
            </a:extLst>
          </p:cNvPr>
          <p:cNvSpPr>
            <a:spLocks noGrp="1"/>
          </p:cNvSpPr>
          <p:nvPr>
            <p:ph type="pic" sz="quarter" idx="15"/>
          </p:nvPr>
        </p:nvSpPr>
        <p:spPr>
          <a:xfrm>
            <a:off x="361737" y="1650384"/>
            <a:ext cx="4610928" cy="2598579"/>
          </a:xfrm>
          <a:prstGeom prst="rect">
            <a:avLst/>
          </a:prstGeom>
        </p:spPr>
        <p:txBody>
          <a:bodyPr>
            <a:normAutofit/>
          </a:bodyPr>
          <a:lstStyle>
            <a:lvl1pPr>
              <a:defRPr sz="1333">
                <a:solidFill>
                  <a:schemeClr val="tx1"/>
                </a:solidFill>
              </a:defRPr>
            </a:lvl1pPr>
          </a:lstStyle>
          <a:p>
            <a:endParaRPr lang="en-US"/>
          </a:p>
        </p:txBody>
      </p:sp>
      <p:sp>
        <p:nvSpPr>
          <p:cNvPr id="8" name="Picture Placeholder 2">
            <a:extLst>
              <a:ext uri="{FF2B5EF4-FFF2-40B4-BE49-F238E27FC236}">
                <a16:creationId xmlns:a16="http://schemas.microsoft.com/office/drawing/2014/main" id="{6DB61B11-90D7-C63E-A3C2-7763EAB6F355}"/>
              </a:ext>
            </a:extLst>
          </p:cNvPr>
          <p:cNvSpPr>
            <a:spLocks noGrp="1"/>
          </p:cNvSpPr>
          <p:nvPr>
            <p:ph type="pic" sz="quarter" idx="16"/>
          </p:nvPr>
        </p:nvSpPr>
        <p:spPr>
          <a:xfrm>
            <a:off x="5091163"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9" name="Picture Placeholder 2">
            <a:extLst>
              <a:ext uri="{FF2B5EF4-FFF2-40B4-BE49-F238E27FC236}">
                <a16:creationId xmlns:a16="http://schemas.microsoft.com/office/drawing/2014/main" id="{A339709F-1D43-F06D-182E-3EDB84E2168D}"/>
              </a:ext>
            </a:extLst>
          </p:cNvPr>
          <p:cNvSpPr>
            <a:spLocks noGrp="1"/>
          </p:cNvSpPr>
          <p:nvPr>
            <p:ph type="pic" sz="quarter" idx="17"/>
          </p:nvPr>
        </p:nvSpPr>
        <p:spPr>
          <a:xfrm>
            <a:off x="9680516"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10" name="Picture Placeholder 2">
            <a:extLst>
              <a:ext uri="{FF2B5EF4-FFF2-40B4-BE49-F238E27FC236}">
                <a16:creationId xmlns:a16="http://schemas.microsoft.com/office/drawing/2014/main" id="{E1B18082-07AE-4BB3-67A6-D876F7451527}"/>
              </a:ext>
            </a:extLst>
          </p:cNvPr>
          <p:cNvSpPr>
            <a:spLocks noGrp="1"/>
          </p:cNvSpPr>
          <p:nvPr>
            <p:ph type="pic" sz="quarter" idx="18"/>
          </p:nvPr>
        </p:nvSpPr>
        <p:spPr>
          <a:xfrm>
            <a:off x="7395264"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11" name="Content Placeholder 26">
            <a:extLst>
              <a:ext uri="{FF2B5EF4-FFF2-40B4-BE49-F238E27FC236}">
                <a16:creationId xmlns:a16="http://schemas.microsoft.com/office/drawing/2014/main" id="{EB7471AD-8923-6E59-BBD1-2577E7030BFD}"/>
              </a:ext>
            </a:extLst>
          </p:cNvPr>
          <p:cNvSpPr>
            <a:spLocks noGrp="1"/>
          </p:cNvSpPr>
          <p:nvPr>
            <p:ph sz="quarter" idx="19"/>
          </p:nvPr>
        </p:nvSpPr>
        <p:spPr>
          <a:xfrm>
            <a:off x="361737" y="4489795"/>
            <a:ext cx="11504383" cy="1565645"/>
          </a:xfrm>
          <a:prstGeom prst="rect">
            <a:avLst/>
          </a:prstGeom>
        </p:spPr>
        <p:txBody>
          <a:bodyPr>
            <a:normAutofit/>
          </a:bodyPr>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AA09C803-EBA4-6DCE-184E-3F8094B1A8CD}"/>
              </a:ext>
            </a:extLst>
          </p:cNvPr>
          <p:cNvCxnSpPr>
            <a:cxnSpLocks/>
          </p:cNvCxnSpPr>
          <p:nvPr userDrawn="1"/>
        </p:nvCxnSpPr>
        <p:spPr>
          <a:xfrm>
            <a:off x="372775" y="6531572"/>
            <a:ext cx="1114056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8">
            <a:extLst>
              <a:ext uri="{FF2B5EF4-FFF2-40B4-BE49-F238E27FC236}">
                <a16:creationId xmlns:a16="http://schemas.microsoft.com/office/drawing/2014/main" id="{F14B9730-0276-42A5-8C79-30EC16D1FB20}"/>
              </a:ext>
            </a:extLst>
          </p:cNvPr>
          <p:cNvSpPr>
            <a:spLocks noGrp="1"/>
          </p:cNvSpPr>
          <p:nvPr>
            <p:ph type="sldNum" sz="quarter" idx="12"/>
          </p:nvPr>
        </p:nvSpPr>
        <p:spPr>
          <a:xfrm>
            <a:off x="11513342" y="6349010"/>
            <a:ext cx="454541" cy="365125"/>
          </a:xfrm>
          <a:prstGeom prst="rect">
            <a:avLst/>
          </a:prstGeom>
        </p:spPr>
        <p:txBody>
          <a:bodyPr anchor="ctr"/>
          <a:lstStyle>
            <a:lvl1pPr algn="ctr">
              <a:defRPr sz="1067">
                <a:solidFill>
                  <a:schemeClr val="tx1"/>
                </a:solidFill>
              </a:defRPr>
            </a:lvl1pPr>
          </a:lstStyle>
          <a:p>
            <a:fld id="{854859ED-44A4-D445-A4CC-FFA1A5BEF902}" type="slidenum">
              <a:rPr lang="en-US" smtClean="0"/>
              <a:pPr/>
              <a:t>‹#›</a:t>
            </a:fld>
            <a:endParaRPr lang="en-US"/>
          </a:p>
        </p:txBody>
      </p:sp>
      <p:sp>
        <p:nvSpPr>
          <p:cNvPr id="51" name="Title 1">
            <a:extLst>
              <a:ext uri="{FF2B5EF4-FFF2-40B4-BE49-F238E27FC236}">
                <a16:creationId xmlns:a16="http://schemas.microsoft.com/office/drawing/2014/main" id="{1BB7C0F3-56EE-D2B9-3F0B-11DD0A1511FD}"/>
              </a:ext>
            </a:extLst>
          </p:cNvPr>
          <p:cNvSpPr>
            <a:spLocks noGrp="1" noChangeAspect="1"/>
          </p:cNvSpPr>
          <p:nvPr>
            <p:ph type="title" hasCustomPrompt="1"/>
          </p:nvPr>
        </p:nvSpPr>
        <p:spPr>
          <a:xfrm>
            <a:off x="338342" y="369520"/>
            <a:ext cx="9836277" cy="446627"/>
          </a:xfrm>
          <a:prstGeom prst="rect">
            <a:avLst/>
          </a:prstGeom>
        </p:spPr>
        <p:txBody>
          <a:bodyPr>
            <a:noAutofit/>
          </a:bodyPr>
          <a:lstStyle>
            <a:lvl1pPr>
              <a:defRPr sz="2667" b="1">
                <a:solidFill>
                  <a:schemeClr val="tx2"/>
                </a:solidFill>
                <a:latin typeface="+mj-lt"/>
              </a:defRPr>
            </a:lvl1pPr>
          </a:lstStyle>
          <a:p>
            <a:r>
              <a:rPr lang="en-US"/>
              <a:t>Click to edit master title style</a:t>
            </a:r>
          </a:p>
        </p:txBody>
      </p:sp>
      <p:sp>
        <p:nvSpPr>
          <p:cNvPr id="52" name="Text Placeholder 2">
            <a:extLst>
              <a:ext uri="{FF2B5EF4-FFF2-40B4-BE49-F238E27FC236}">
                <a16:creationId xmlns:a16="http://schemas.microsoft.com/office/drawing/2014/main" id="{50A56E67-A1CC-DBA3-84E0-492FD6F6F2A5}"/>
              </a:ext>
            </a:extLst>
          </p:cNvPr>
          <p:cNvSpPr>
            <a:spLocks noGrp="1" noChangeAspect="1"/>
          </p:cNvSpPr>
          <p:nvPr>
            <p:ph type="body" idx="1" hasCustomPrompt="1"/>
          </p:nvPr>
        </p:nvSpPr>
        <p:spPr>
          <a:xfrm>
            <a:off x="338342" y="968476"/>
            <a:ext cx="9836277" cy="445001"/>
          </a:xfrm>
          <a:prstGeom prst="rect">
            <a:avLst/>
          </a:prstGeom>
        </p:spPr>
        <p:txBody>
          <a:bodyPr anchor="t">
            <a:noAutofit/>
          </a:bodyPr>
          <a:lstStyle>
            <a:lvl1pPr marL="0" indent="0">
              <a:spcBef>
                <a:spcPts val="0"/>
              </a:spcBef>
              <a:buNone/>
              <a:defRPr sz="2400" b="0">
                <a:solidFill>
                  <a:schemeClr val="accent1"/>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2" name="Picture 1">
            <a:extLst>
              <a:ext uri="{FF2B5EF4-FFF2-40B4-BE49-F238E27FC236}">
                <a16:creationId xmlns:a16="http://schemas.microsoft.com/office/drawing/2014/main" id="{2E65A3B9-A22A-E6CD-F32F-C71C66703929}"/>
              </a:ext>
            </a:extLst>
          </p:cNvPr>
          <p:cNvPicPr>
            <a:picLocks noChangeAspect="1"/>
          </p:cNvPicPr>
          <p:nvPr userDrawn="1"/>
        </p:nvPicPr>
        <p:blipFill>
          <a:blip r:embed="rId2">
            <a:extLst>
              <a:ext uri="{28A0092B-C50C-407E-A947-70E740481C1C}">
                <a14:useLocalDpi xmlns:a14="http://schemas.microsoft.com/office/drawing/2010/main" val="0"/>
              </a:ext>
            </a:extLst>
          </a:blip>
          <a:srcRect t="1" b="-510"/>
          <a:stretch/>
        </p:blipFill>
        <p:spPr>
          <a:xfrm>
            <a:off x="10789364" y="355711"/>
            <a:ext cx="1044563" cy="476968"/>
          </a:xfrm>
          <a:prstGeom prst="rect">
            <a:avLst/>
          </a:prstGeom>
        </p:spPr>
      </p:pic>
    </p:spTree>
    <p:extLst>
      <p:ext uri="{BB962C8B-B14F-4D97-AF65-F5344CB8AC3E}">
        <p14:creationId xmlns:p14="http://schemas.microsoft.com/office/powerpoint/2010/main" val="23977401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3AC89C8-BD98-4B07-F100-A48D4B9FD2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0"/>
            <a:ext cx="12199052" cy="6864000"/>
          </a:xfrm>
          <a:prstGeom prst="rect">
            <a:avLst/>
          </a:prstGeom>
        </p:spPr>
      </p:pic>
      <p:sp>
        <p:nvSpPr>
          <p:cNvPr id="9" name="Subtitle 2">
            <a:extLst>
              <a:ext uri="{FF2B5EF4-FFF2-40B4-BE49-F238E27FC236}">
                <a16:creationId xmlns:a16="http://schemas.microsoft.com/office/drawing/2014/main" id="{4CD25382-6632-7DE5-16AE-34068362B7D8}"/>
              </a:ext>
            </a:extLst>
          </p:cNvPr>
          <p:cNvSpPr>
            <a:spLocks noGrp="1"/>
          </p:cNvSpPr>
          <p:nvPr>
            <p:ph type="subTitle" idx="1"/>
          </p:nvPr>
        </p:nvSpPr>
        <p:spPr>
          <a:xfrm>
            <a:off x="339927" y="2392385"/>
            <a:ext cx="5755807" cy="1948731"/>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00" indent="0" algn="ctr">
              <a:buNone/>
              <a:defRPr sz="672"/>
            </a:lvl2pPr>
            <a:lvl3pPr marL="307200" indent="0" algn="ctr">
              <a:buNone/>
              <a:defRPr sz="605"/>
            </a:lvl3pPr>
            <a:lvl4pPr marL="460800" indent="0" algn="ctr">
              <a:buNone/>
              <a:defRPr sz="537"/>
            </a:lvl4pPr>
            <a:lvl5pPr marL="614399" indent="0" algn="ctr">
              <a:buNone/>
              <a:defRPr sz="537"/>
            </a:lvl5pPr>
            <a:lvl6pPr marL="767999" indent="0" algn="ctr">
              <a:buNone/>
              <a:defRPr sz="537"/>
            </a:lvl6pPr>
            <a:lvl7pPr marL="921600" indent="0" algn="ctr">
              <a:buNone/>
              <a:defRPr sz="537"/>
            </a:lvl7pPr>
            <a:lvl8pPr marL="1075200" indent="0" algn="ctr">
              <a:buNone/>
              <a:defRPr sz="537"/>
            </a:lvl8pPr>
            <a:lvl9pPr marL="1228800" indent="0" algn="ctr">
              <a:buNone/>
              <a:defRPr sz="537"/>
            </a:lvl9pPr>
          </a:lstStyle>
          <a:p>
            <a:r>
              <a:rPr lang="en-US"/>
              <a:t>Click to edit Master subtitle style</a:t>
            </a:r>
          </a:p>
        </p:txBody>
      </p:sp>
      <p:sp>
        <p:nvSpPr>
          <p:cNvPr id="10" name="Title 1">
            <a:extLst>
              <a:ext uri="{FF2B5EF4-FFF2-40B4-BE49-F238E27FC236}">
                <a16:creationId xmlns:a16="http://schemas.microsoft.com/office/drawing/2014/main" id="{0C94FFE6-EE2B-B8F5-666A-1E56E9FB9191}"/>
              </a:ext>
            </a:extLst>
          </p:cNvPr>
          <p:cNvSpPr>
            <a:spLocks noGrp="1"/>
          </p:cNvSpPr>
          <p:nvPr>
            <p:ph type="ctrTitle"/>
          </p:nvPr>
        </p:nvSpPr>
        <p:spPr>
          <a:xfrm>
            <a:off x="339927" y="1663374"/>
            <a:ext cx="5755807" cy="463308"/>
          </a:xfrm>
          <a:prstGeom prst="rect">
            <a:avLst/>
          </a:prstGeom>
        </p:spPr>
        <p:txBody>
          <a:bodyPr anchor="t">
            <a:no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2" name="TextBox 1">
            <a:extLst>
              <a:ext uri="{FF2B5EF4-FFF2-40B4-BE49-F238E27FC236}">
                <a16:creationId xmlns:a16="http://schemas.microsoft.com/office/drawing/2014/main" id="{2C5D48E1-C406-54BF-5C69-B0BEBA990002}"/>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rgbClr val="02094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pic>
        <p:nvPicPr>
          <p:cNvPr id="3" name="Picture 2">
            <a:extLst>
              <a:ext uri="{FF2B5EF4-FFF2-40B4-BE49-F238E27FC236}">
                <a16:creationId xmlns:a16="http://schemas.microsoft.com/office/drawing/2014/main" id="{B5EEEDC1-7973-377F-F9B3-3BC71F5F7C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95466" y="383636"/>
            <a:ext cx="1525740" cy="696104"/>
          </a:xfrm>
          <a:prstGeom prst="rect">
            <a:avLst/>
          </a:prstGeom>
        </p:spPr>
      </p:pic>
    </p:spTree>
    <p:extLst>
      <p:ext uri="{BB962C8B-B14F-4D97-AF65-F5344CB8AC3E}">
        <p14:creationId xmlns:p14="http://schemas.microsoft.com/office/powerpoint/2010/main" val="3962997413"/>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tags" Target="../tags/tag2.xml"/><Relationship Id="rId11" Type="http://schemas.openxmlformats.org/officeDocument/2006/relationships/oleObject" Target="../embeddings/oleObject1.bin"/><Relationship Id="rId1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30AB80A-CAD5-C3D2-7D23-B0B14D8C3558}"/>
              </a:ext>
            </a:extLst>
          </p:cNvPr>
          <p:cNvGraphicFramePr>
            <a:graphicFrameLocks noChangeAspect="1"/>
          </p:cNvGraphicFramePr>
          <p:nvPr userDrawn="1">
            <p:custDataLst>
              <p:tags r:id="rId10"/>
            </p:custDataLst>
            <p:extLst>
              <p:ext uri="{D42A27DB-BD31-4B8C-83A1-F6EECF244321}">
                <p14:modId xmlns:p14="http://schemas.microsoft.com/office/powerpoint/2010/main" val="333048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40" imgH="240" progId="TCLayout.ActiveDocument.1">
                  <p:embed/>
                </p:oleObj>
              </mc:Choice>
              <mc:Fallback>
                <p:oleObj name="think-cell Slide" r:id="rId11" imgW="240" imgH="240" progId="TCLayout.ActiveDocument.1">
                  <p:embed/>
                  <p:pic>
                    <p:nvPicPr>
                      <p:cNvPr id="2" name="think-cell data - do not delete" hidden="1">
                        <a:extLst>
                          <a:ext uri="{FF2B5EF4-FFF2-40B4-BE49-F238E27FC236}">
                            <a16:creationId xmlns:a16="http://schemas.microsoft.com/office/drawing/2014/main" id="{B30AB80A-CAD5-C3D2-7D23-B0B14D8C355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472398901"/>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6" r:id="rId4"/>
    <p:sldLayoutId id="2147483707" r:id="rId5"/>
    <p:sldLayoutId id="2147483667" r:id="rId6"/>
    <p:sldLayoutId id="2147483668" r:id="rId7"/>
    <p:sldLayoutId id="2147483669" r:id="rId8"/>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69">
          <p15:clr>
            <a:srgbClr val="F26B43"/>
          </p15:clr>
        </p15:guide>
        <p15:guide id="4" pos="158">
          <p15:clr>
            <a:srgbClr val="F26B43"/>
          </p15:clr>
        </p15:guide>
        <p15:guide id="5" orient="horz" pos="3054">
          <p15:clr>
            <a:srgbClr val="F26B43"/>
          </p15:clr>
        </p15:guide>
        <p15:guide id="6" pos="560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Layout" Target="../slideLayouts/slideLayout8.xml"/><Relationship Id="rId3" Type="http://schemas.openxmlformats.org/officeDocument/2006/relationships/oleObject" Target="../embeddings/oleObject3.bin"/><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Layout" Target="../slideLayouts/slideLayout5.xml"/><Relationship Id="rId3" Type="http://schemas.openxmlformats.org/officeDocument/2006/relationships/notesSlide" Target="../notesSlides/notesSlide1.xml"/><Relationship Id="rId4" Type="http://schemas.openxmlformats.org/officeDocument/2006/relationships/oleObject" Target="../embeddings/oleObject4.bin"/><Relationship Id="rId5" Type="http://schemas.openxmlformats.org/officeDocument/2006/relationships/image" Target="../media/image9.emf"/><Relationship Id="rId6" Type="http://schemas.openxmlformats.org/officeDocument/2006/relationships/chart" Target="../charts/chart1.xml"/><Relationship Id="rId7" Type="http://schemas.openxmlformats.org/officeDocument/2006/relationships/chart" Target="../charts/chart2.xml"/></Relationships>
</file>

<file path=ppt/slides/_rels/slide3.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5.xml"/><Relationship Id="rId3" Type="http://schemas.openxmlformats.org/officeDocument/2006/relationships/notesSlide" Target="../notesSlides/notesSlide2.xml"/><Relationship Id="rId4" Type="http://schemas.openxmlformats.org/officeDocument/2006/relationships/oleObject" Target="../embeddings/oleObject5.bin"/><Relationship Id="rId5"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1557B-7B26-BE15-AE1F-0C87DD6186F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7584196-810C-3B22-8915-9565874CD2D0}"/>
              </a:ext>
            </a:extLst>
          </p:cNvPr>
          <p:cNvGraphicFramePr>
            <a:graphicFrameLocks noChangeAspect="1"/>
          </p:cNvGraphicFramePr>
          <p:nvPr>
            <p:custDataLst>
              <p:tags r:id="rId1"/>
            </p:custDataLst>
            <p:extLst>
              <p:ext uri="{D42A27DB-BD31-4B8C-83A1-F6EECF244321}">
                <p14:modId xmlns:p14="http://schemas.microsoft.com/office/powerpoint/2010/main" val="1071077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97584196-810C-3B22-8915-9565874CD2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F10E8DA-4CAF-F96C-6E64-A81849CD287F}"/>
              </a:ext>
            </a:extLst>
          </p:cNvPr>
          <p:cNvSpPr>
            <a:spLocks noGrp="1"/>
          </p:cNvSpPr>
          <p:nvPr>
            <p:ph type="ctrTitle"/>
          </p:nvPr>
        </p:nvSpPr>
        <p:spPr>
          <a:xfrm>
            <a:off x="357725" y="2291726"/>
            <a:ext cx="6148177" cy="501431"/>
          </a:xfrm>
        </p:spPr>
        <p:txBody>
          <a:bodyPr vert="horz" lIns="91440" tIns="45720" rIns="91440" bIns="45720" anchor="t">
            <a:noAutofit/>
          </a:bodyPr>
          <a:lstStyle/>
          <a:p>
            <a:r>
              <a:rPr lang="en-US" sz="3200" spc="133">
                <a:solidFill>
                  <a:schemeClr val="bg1"/>
                </a:solidFill>
                <a:latin typeface="+mj-lt"/>
                <a:cs typeface="Arial"/>
              </a:rPr>
              <a:t>N-17720 – New 132/33kv KIZAD Substation and Related 132kv Cable Works</a:t>
            </a:r>
            <a:endParaRPr lang="en-RS" sz="3200">
              <a:solidFill>
                <a:schemeClr val="bg1"/>
              </a:solidFill>
              <a:cs typeface="Arial"/>
            </a:endParaRPr>
          </a:p>
        </p:txBody>
      </p:sp>
      <p:sp>
        <p:nvSpPr>
          <p:cNvPr id="5" name="Subtitle 2">
            <a:extLst>
              <a:ext uri="{FF2B5EF4-FFF2-40B4-BE49-F238E27FC236}">
                <a16:creationId xmlns:a16="http://schemas.microsoft.com/office/drawing/2014/main" id="{97F46F66-3558-3216-CC82-56F6D3F6E8C2}"/>
              </a:ext>
            </a:extLst>
          </p:cNvPr>
          <p:cNvSpPr>
            <a:spLocks noGrp="1"/>
          </p:cNvSpPr>
          <p:nvPr>
            <p:ph type="subTitle" idx="1"/>
          </p:nvPr>
        </p:nvSpPr>
        <p:spPr>
          <a:xfrm>
            <a:off x="357725" y="4462705"/>
            <a:ext cx="7277259" cy="1189457"/>
          </a:xfrm>
        </p:spPr>
        <p:txBody>
          <a:bodyPr lIns="121920" tIns="60960" rIns="121920" bIns="60960" anchor="t">
            <a:normAutofit/>
          </a:bodyPr>
          <a:lstStyle/>
          <a:p>
            <a:br>
              <a:rPr lang="en-US" sz="3200" spc="133">
                <a:latin typeface="+mj-lt"/>
              </a:rPr>
            </a:br>
            <a:r>
              <a:rPr lang="en-US" spc="133" dirty="0">
                <a:solidFill>
                  <a:schemeClr val="bg2">
                    <a:lumMod val="50000"/>
                  </a:schemeClr>
                </a:solidFill>
                <a:latin typeface="+mj-lt"/>
                <a:cs typeface="Arial"/>
              </a:rPr>
              <a:t>20th May</a:t>
            </a:r>
            <a:r>
              <a:rPr lang="en-US" spc="133">
                <a:solidFill>
                  <a:schemeClr val="bg2">
                    <a:lumMod val="50000"/>
                  </a:schemeClr>
                </a:solidFill>
                <a:latin typeface="+mj-lt"/>
                <a:cs typeface="Arial"/>
              </a:rPr>
              <a:t> 2025</a:t>
            </a:r>
            <a:endParaRPr lang="en-RS">
              <a:solidFill>
                <a:schemeClr val="bg2">
                  <a:lumMod val="50000"/>
                </a:schemeClr>
              </a:solidFill>
            </a:endParaRPr>
          </a:p>
        </p:txBody>
      </p:sp>
    </p:spTree>
    <p:extLst>
      <p:ext uri="{BB962C8B-B14F-4D97-AF65-F5344CB8AC3E}">
        <p14:creationId xmlns:p14="http://schemas.microsoft.com/office/powerpoint/2010/main" val="3440684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4D830-7ED3-01BE-FACF-B4CCFCD6FA9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608896-8557-95D2-DE75-F10066B08612}"/>
              </a:ext>
            </a:extLst>
          </p:cNvPr>
          <p:cNvGraphicFramePr>
            <a:graphicFrameLocks noChangeAspect="1"/>
          </p:cNvGraphicFramePr>
          <p:nvPr>
            <p:custDataLst>
              <p:tags r:id="rId1"/>
            </p:custDataLst>
            <p:extLst>
              <p:ext uri="{D42A27DB-BD31-4B8C-83A1-F6EECF244321}">
                <p14:modId xmlns:p14="http://schemas.microsoft.com/office/powerpoint/2010/main" val="273102235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6" name="think-cell data - do not delete" hidden="1">
                        <a:extLst>
                          <a:ext uri="{FF2B5EF4-FFF2-40B4-BE49-F238E27FC236}">
                            <a16:creationId xmlns:a16="http://schemas.microsoft.com/office/drawing/2014/main" id="{98608896-8557-95D2-DE75-F10066B0861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A7C6870-AF17-0DBD-DD1B-5D3270EDE166}"/>
              </a:ext>
            </a:extLst>
          </p:cNvPr>
          <p:cNvSpPr>
            <a:spLocks noGrp="1"/>
          </p:cNvSpPr>
          <p:nvPr>
            <p:ph type="sldNum" sz="quarter" idx="12"/>
          </p:nvPr>
        </p:nvSpPr>
        <p:spPr>
          <a:xfrm>
            <a:off x="11513342" y="6349010"/>
            <a:ext cx="454541" cy="365125"/>
          </a:xfrm>
        </p:spPr>
        <p:txBody>
          <a:bodyPr/>
          <a:lstStyle/>
          <a:p>
            <a:fld id="{854859ED-44A4-D445-A4CC-FFA1A5BEF902}" type="slidenum">
              <a:rPr lang="en-US"/>
              <a:pPr/>
              <a:t>2</a:t>
            </a:fld>
            <a:endParaRPr lang="en-US"/>
          </a:p>
        </p:txBody>
      </p:sp>
      <p:sp>
        <p:nvSpPr>
          <p:cNvPr id="31" name="Title 30">
            <a:extLst>
              <a:ext uri="{FF2B5EF4-FFF2-40B4-BE49-F238E27FC236}">
                <a16:creationId xmlns:a16="http://schemas.microsoft.com/office/drawing/2014/main" id="{DC01B23E-334B-E6E7-E563-FEA0EAA0A423}"/>
              </a:ext>
            </a:extLst>
          </p:cNvPr>
          <p:cNvSpPr>
            <a:spLocks noGrp="1"/>
          </p:cNvSpPr>
          <p:nvPr>
            <p:ph type="title" idx="4294967295"/>
          </p:nvPr>
        </p:nvSpPr>
        <p:spPr>
          <a:xfrm>
            <a:off x="338341" y="369520"/>
            <a:ext cx="10008865" cy="446627"/>
          </a:xfrm>
          <a:prstGeom prst="rect">
            <a:avLst/>
          </a:prstGeom>
        </p:spPr>
        <p:txBody>
          <a:bodyPr vert="horz"/>
          <a:lstStyle/>
          <a:p>
            <a:r>
              <a:rPr lang="en-US" sz="2200" b="1"/>
              <a:t>N-17720 – New 132/33kv KIZAD Substation and Related 132kv Cable Works</a:t>
            </a:r>
            <a:endParaRPr lang="en-AE" sz="2200" b="1"/>
          </a:p>
        </p:txBody>
      </p:sp>
      <p:graphicFrame>
        <p:nvGraphicFramePr>
          <p:cNvPr id="35" name="Table 34">
            <a:extLst>
              <a:ext uri="{FF2B5EF4-FFF2-40B4-BE49-F238E27FC236}">
                <a16:creationId xmlns:a16="http://schemas.microsoft.com/office/drawing/2014/main" id="{4C2F6C1E-D402-AF3D-F70D-BA235E33D463}"/>
              </a:ext>
            </a:extLst>
          </p:cNvPr>
          <p:cNvGraphicFramePr>
            <a:graphicFrameLocks noGrp="1"/>
          </p:cNvGraphicFramePr>
          <p:nvPr>
            <p:extLst>
              <p:ext uri="{D42A27DB-BD31-4B8C-83A1-F6EECF244321}">
                <p14:modId xmlns:p14="http://schemas.microsoft.com/office/powerpoint/2010/main" val="4119472151"/>
              </p:ext>
            </p:extLst>
          </p:nvPr>
        </p:nvGraphicFramePr>
        <p:xfrm>
          <a:off x="269522" y="4038954"/>
          <a:ext cx="3838895" cy="2373841"/>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37100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TAQA Transmission Scope</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002839">
                <a:tc>
                  <a:txBody>
                    <a:bodyPr/>
                    <a:lstStyle/>
                    <a:p>
                      <a:pPr marL="171450" marR="0" lvl="0" indent="-171450" algn="just" rtl="0" eaLnBrk="1" fontAlgn="auto" latinLnBrk="0" hangingPunct="1">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New 132/33 kV KIZAD Substation at Khalifa Industrial Zone Abu Dhabi.</a:t>
                      </a:r>
                      <a:endParaRPr lang="en-AE" sz="1200" b="0" i="0" u="none" strike="noStrike" kern="0" cap="none" spc="0" normalizeH="0" baseline="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just">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132kV Cable works from ODSE to 132kV GIS at </a:t>
                      </a:r>
                      <a:r>
                        <a:rPr lang="en-AE" sz="1200" b="0" i="0" u="none" strike="noStrike" kern="0" cap="none" spc="0" normalizeH="0" baseline="0" dirty="0" err="1">
                          <a:ln>
                            <a:noFill/>
                          </a:ln>
                          <a:solidFill>
                            <a:srgbClr val="000000"/>
                          </a:solidFill>
                          <a:effectLst/>
                          <a:uLnTx/>
                          <a:uFillTx/>
                          <a:latin typeface="Calibri"/>
                          <a:ea typeface="+mn-ea"/>
                          <a:cs typeface="Calibri"/>
                        </a:rPr>
                        <a:t>Taweelah</a:t>
                      </a:r>
                      <a:r>
                        <a:rPr lang="en-AE" sz="1200" b="0" i="0" u="none" strike="noStrike" kern="0" cap="none" spc="0" normalizeH="0" baseline="0" dirty="0">
                          <a:ln>
                            <a:noFill/>
                          </a:ln>
                          <a:solidFill>
                            <a:srgbClr val="000000"/>
                          </a:solidFill>
                          <a:effectLst/>
                          <a:uLnTx/>
                          <a:uFillTx/>
                          <a:latin typeface="Calibri"/>
                          <a:ea typeface="+mn-ea"/>
                          <a:cs typeface="Calibri"/>
                        </a:rPr>
                        <a:t> and </a:t>
                      </a:r>
                      <a:r>
                        <a:rPr lang="en-AE" sz="1200" b="0" i="0" u="none" strike="noStrike" kern="0" cap="none" spc="0" normalizeH="0" baseline="0" dirty="0" err="1">
                          <a:ln>
                            <a:noFill/>
                          </a:ln>
                          <a:solidFill>
                            <a:srgbClr val="000000"/>
                          </a:solidFill>
                          <a:effectLst/>
                          <a:uLnTx/>
                          <a:uFillTx/>
                          <a:latin typeface="Calibri"/>
                          <a:ea typeface="+mn-ea"/>
                          <a:cs typeface="Calibri"/>
                        </a:rPr>
                        <a:t>Kizad</a:t>
                      </a:r>
                      <a:r>
                        <a:rPr lang="en-AE" sz="1200" b="0" i="0" u="none" strike="noStrike" kern="0" cap="none" spc="0" normalizeH="0" baseline="0" dirty="0">
                          <a:ln>
                            <a:noFill/>
                          </a:ln>
                          <a:solidFill>
                            <a:srgbClr val="000000"/>
                          </a:solidFill>
                          <a:effectLst/>
                          <a:uLnTx/>
                          <a:uFillTx/>
                          <a:latin typeface="Calibri"/>
                          <a:ea typeface="+mn-ea"/>
                          <a:cs typeface="Calibri"/>
                        </a:rPr>
                        <a:t> end.</a:t>
                      </a:r>
                      <a:endParaRPr kumimoji="0" lang="en-AE" sz="1200" b="0" i="0" u="none" strike="noStrike" kern="0" cap="none" spc="0" normalizeH="0" baseline="0" dirty="0">
                        <a:ln>
                          <a:noFill/>
                        </a:ln>
                        <a:solidFill>
                          <a:srgbClr val="000000"/>
                        </a:solidFill>
                        <a:effectLst/>
                        <a:uLnTx/>
                        <a:uFillTx/>
                        <a:latin typeface="Calibri"/>
                        <a:ea typeface="+mn-ea"/>
                        <a:cs typeface="Calibri"/>
                      </a:endParaRPr>
                    </a:p>
                    <a:p>
                      <a:pPr marL="171450" marR="0" lvl="0" indent="-171450" algn="just">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LDC </a:t>
                      </a:r>
                      <a:r>
                        <a:rPr lang="en-AE" sz="1200" b="0" i="0" u="none" strike="noStrike" kern="0" cap="none" spc="0" normalizeH="0" baseline="0" dirty="0" err="1">
                          <a:ln>
                            <a:noFill/>
                          </a:ln>
                          <a:solidFill>
                            <a:srgbClr val="000000"/>
                          </a:solidFill>
                          <a:effectLst/>
                          <a:uLnTx/>
                          <a:uFillTx/>
                          <a:latin typeface="Calibri"/>
                          <a:ea typeface="+mn-ea"/>
                          <a:cs typeface="Calibri"/>
                        </a:rPr>
                        <a:t>Intergration</a:t>
                      </a:r>
                      <a:r>
                        <a:rPr lang="en-AE" sz="1200" b="0" i="0" u="none" strike="noStrike" kern="0" cap="none" spc="0" normalizeH="0" baseline="0" dirty="0">
                          <a:ln>
                            <a:noFill/>
                          </a:ln>
                          <a:solidFill>
                            <a:srgbClr val="000000"/>
                          </a:solidFill>
                          <a:effectLst/>
                          <a:uLnTx/>
                          <a:uFillTx/>
                          <a:latin typeface="Calibri"/>
                          <a:ea typeface="+mn-ea"/>
                          <a:cs typeface="Calibri"/>
                        </a:rPr>
                        <a:t> works.</a:t>
                      </a:r>
                    </a:p>
                    <a:p>
                      <a:pPr marL="171450" marR="0" lvl="0" indent="-171450" algn="l">
                        <a:lnSpc>
                          <a:spcPct val="100000"/>
                        </a:lnSpc>
                        <a:spcBef>
                          <a:spcPts val="0"/>
                        </a:spcBef>
                        <a:spcAft>
                          <a:spcPts val="0"/>
                        </a:spcAft>
                        <a:buClr>
                          <a:srgbClr val="474747"/>
                        </a:buClr>
                        <a:buSzPct val="100000"/>
                        <a:buFont typeface="Arial" panose="020B0604020202020204" pitchFamily="34" charset="0"/>
                        <a:buChar char="•"/>
                      </a:pPr>
                      <a:endParaRPr lang="en-AE" sz="1200" b="0" i="0" u="none" strike="noStrike" kern="0" cap="none" spc="0" normalizeH="0" baseline="0" dirty="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5" name="Table 4">
            <a:extLst>
              <a:ext uri="{FF2B5EF4-FFF2-40B4-BE49-F238E27FC236}">
                <a16:creationId xmlns:a16="http://schemas.microsoft.com/office/drawing/2014/main" id="{D3A71F0B-BE76-9F64-D314-DA16AEF390B3}"/>
              </a:ext>
            </a:extLst>
          </p:cNvPr>
          <p:cNvGraphicFramePr>
            <a:graphicFrameLocks noGrp="1"/>
          </p:cNvGraphicFramePr>
          <p:nvPr>
            <p:extLst>
              <p:ext uri="{D42A27DB-BD31-4B8C-83A1-F6EECF244321}">
                <p14:modId xmlns:p14="http://schemas.microsoft.com/office/powerpoint/2010/main" val="3284138778"/>
              </p:ext>
            </p:extLst>
          </p:nvPr>
        </p:nvGraphicFramePr>
        <p:xfrm>
          <a:off x="4176553" y="4038954"/>
          <a:ext cx="3838895" cy="2394161"/>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382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Major Project Highlights</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1991360">
                <a:tc>
                  <a:txBody>
                    <a:bodyPr/>
                    <a:lstStyle/>
                    <a:p>
                      <a:pPr marL="171450" indent="-171450">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33KV GIS, Telecom Panel, Capacitor Bank, Power Transformer, 132kV GIS, Battery, Auxiliary Transformer, LV Cable, DC Charger, EOT Crane, Fire Pump, Fire Water Tank delivered.</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apacitor bank pedestal concrete works</a:t>
                      </a:r>
                      <a:r>
                        <a:rPr kumimoji="0" lang="en-AE"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completed.</a:t>
                      </a:r>
                    </a:p>
                    <a:p>
                      <a:pPr marL="171450" indent="-171450" algn="l" defTabSz="914377" rtl="0" eaLnBrk="1" latinLnBrk="0" hangingPunct="1">
                        <a:buFont typeface="Arial" panose="020B0604020202020204" pitchFamily="34" charset="0"/>
                        <a:buChar char="•"/>
                      </a:pPr>
                      <a:r>
                        <a:rPr kumimoji="0" lang="en-GB"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aircase-3 Roof Slab, Parapet &amp; Pedestals upstands Rebar Fixing works </a:t>
                      </a:r>
                      <a:r>
                        <a:rPr kumimoji="0" lang="en-AE"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mpleted.</a:t>
                      </a:r>
                      <a:endPar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132kV GIS room floor preparation work for painting in progress.</a:t>
                      </a:r>
                    </a:p>
                    <a:p>
                      <a:pPr marL="171450" indent="-171450">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attery room tile work in progress.</a:t>
                      </a:r>
                    </a:p>
                    <a:p>
                      <a:pPr marL="171450" indent="-171450">
                        <a:buFont typeface="Arial" panose="020B0604020202020204" pitchFamily="34" charset="0"/>
                        <a:buChar char="•"/>
                      </a:pPr>
                      <a:r>
                        <a:rPr lang="en-US" sz="1050" dirty="0">
                          <a:solidFill>
                            <a:srgbClr val="000000"/>
                          </a:solidFill>
                          <a:latin typeface="Calibri" panose="020F0502020204030204" pitchFamily="34" charset="0"/>
                          <a:ea typeface="Calibri" panose="020F0502020204030204" pitchFamily="34" charset="0"/>
                          <a:cs typeface="Calibri" panose="020F0502020204030204" pitchFamily="34" charset="0"/>
                        </a:rPr>
                        <a:t>MEP/LSP work at Cable basement in progress.</a:t>
                      </a:r>
                    </a:p>
                    <a:p>
                      <a:pPr marL="171450" indent="-171450">
                        <a:buFont typeface="Arial" panose="020B0604020202020204" pitchFamily="34" charset="0"/>
                        <a:buChar char="•"/>
                      </a:pPr>
                      <a:r>
                        <a:rPr lang="en-US" sz="1050" dirty="0">
                          <a:solidFill>
                            <a:srgbClr val="000000"/>
                          </a:solidFill>
                          <a:latin typeface="Calibri" panose="020F0502020204030204" pitchFamily="34" charset="0"/>
                          <a:ea typeface="Calibri" panose="020F0502020204030204" pitchFamily="34" charset="0"/>
                          <a:cs typeface="Calibri" panose="020F0502020204030204" pitchFamily="34" charset="0"/>
                        </a:rPr>
                        <a:t>Auxiliary building &amp; Boundary Wall foundation work in progress.</a:t>
                      </a:r>
                    </a:p>
                    <a:p>
                      <a:pPr marL="171450" indent="-171450" algn="l" defTabSz="914377" rtl="0" eaLnBrk="1" latinLnBrk="0" hangingPunct="1">
                        <a:buFont typeface="Arial" panose="020B0604020202020204" pitchFamily="34" charset="0"/>
                        <a:buChar char="•"/>
                      </a:pPr>
                      <a:r>
                        <a:rPr kumimoji="0" lang="en-US"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andwich Panel erection for ground floor room in progress.</a:t>
                      </a:r>
                    </a:p>
                    <a:p>
                      <a:pPr marL="171450" indent="-171450" algn="l" defTabSz="914377" rtl="0" eaLnBrk="1" latinLnBrk="0" hangingPunct="1">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ower Transformer Site Testing in progress.</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7" name="Table 6">
            <a:extLst>
              <a:ext uri="{FF2B5EF4-FFF2-40B4-BE49-F238E27FC236}">
                <a16:creationId xmlns:a16="http://schemas.microsoft.com/office/drawing/2014/main" id="{83BEFF3F-CFD4-BD64-296E-136E9DE32DB4}"/>
              </a:ext>
            </a:extLst>
          </p:cNvPr>
          <p:cNvGraphicFramePr>
            <a:graphicFrameLocks noGrp="1"/>
          </p:cNvGraphicFramePr>
          <p:nvPr>
            <p:extLst>
              <p:ext uri="{D42A27DB-BD31-4B8C-83A1-F6EECF244321}">
                <p14:modId xmlns:p14="http://schemas.microsoft.com/office/powerpoint/2010/main" val="3132838976"/>
              </p:ext>
            </p:extLst>
          </p:nvPr>
        </p:nvGraphicFramePr>
        <p:xfrm>
          <a:off x="8083583" y="4038952"/>
          <a:ext cx="3838895" cy="2373843"/>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4224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Major Concerns</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1951381">
                <a:tc>
                  <a:txBody>
                    <a:bodyPr/>
                    <a:lstStyle/>
                    <a:p>
                      <a:pPr marL="171450" indent="-171450" algn="just">
                        <a:buFont typeface="Arial" panose="020B0604020202020204" pitchFamily="34" charset="0"/>
                        <a:buChar char="•"/>
                        <a:tabLst>
                          <a:tab pos="457200" algn="l"/>
                        </a:tabLst>
                      </a:pPr>
                      <a:r>
                        <a:rPr lang="en-US" sz="1050" dirty="0">
                          <a:solidFill>
                            <a:srgbClr val="000000"/>
                          </a:solidFill>
                          <a:latin typeface="Calibri" panose="020F0502020204030204" pitchFamily="34" charset="0"/>
                        </a:rPr>
                        <a:t>Main Building Civil Works – 'Sandwich Panel supply mainly for main building internal partition walls are delayed and intern electrical access is delayed. ELMEC to expedite delivery of sandwich panels and provide electrical access which is delayed by 1.5 month.</a:t>
                      </a:r>
                    </a:p>
                    <a:p>
                      <a:pPr marL="0" marR="0" lvl="0" indent="0" algn="l">
                        <a:lnSpc>
                          <a:spcPct val="100000"/>
                        </a:lnSpc>
                        <a:spcBef>
                          <a:spcPts val="0"/>
                        </a:spcBef>
                        <a:spcAft>
                          <a:spcPts val="0"/>
                        </a:spcAft>
                        <a:buClr>
                          <a:srgbClr val="474747"/>
                        </a:buClr>
                        <a:buSzPct val="100000"/>
                        <a:buFont typeface="Arial" panose="020B0604020202020204" pitchFamily="34" charset="0"/>
                        <a:buNone/>
                      </a:pPr>
                      <a:endParaRPr lang="en-US" sz="1050" b="0" i="0" u="none" strike="noStrike" kern="0" cap="none" spc="0" normalizeH="0" baseline="0" noProof="0" dirty="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8" name="Table 7">
            <a:extLst>
              <a:ext uri="{FF2B5EF4-FFF2-40B4-BE49-F238E27FC236}">
                <a16:creationId xmlns:a16="http://schemas.microsoft.com/office/drawing/2014/main" id="{05550516-049F-AE40-7162-5F639A7E12F0}"/>
              </a:ext>
            </a:extLst>
          </p:cNvPr>
          <p:cNvGraphicFramePr>
            <a:graphicFrameLocks noGrp="1"/>
          </p:cNvGraphicFramePr>
          <p:nvPr>
            <p:extLst>
              <p:ext uri="{D42A27DB-BD31-4B8C-83A1-F6EECF244321}">
                <p14:modId xmlns:p14="http://schemas.microsoft.com/office/powerpoint/2010/main" val="764097518"/>
              </p:ext>
            </p:extLst>
          </p:nvPr>
        </p:nvGraphicFramePr>
        <p:xfrm>
          <a:off x="360947" y="1554078"/>
          <a:ext cx="4696776" cy="2375218"/>
        </p:xfrm>
        <a:graphic>
          <a:graphicData uri="http://schemas.openxmlformats.org/drawingml/2006/table">
            <a:tbl>
              <a:tblPr firstRow="1" bandRow="1">
                <a:tableStyleId>{72833802-FEF1-4C79-8D5D-14CF1EAF98D9}</a:tableStyleId>
              </a:tblPr>
              <a:tblGrid>
                <a:gridCol w="2558715">
                  <a:extLst>
                    <a:ext uri="{9D8B030D-6E8A-4147-A177-3AD203B41FA5}">
                      <a16:colId xmlns:a16="http://schemas.microsoft.com/office/drawing/2014/main" val="3190165062"/>
                    </a:ext>
                  </a:extLst>
                </a:gridCol>
                <a:gridCol w="2138061">
                  <a:extLst>
                    <a:ext uri="{9D8B030D-6E8A-4147-A177-3AD203B41FA5}">
                      <a16:colId xmlns:a16="http://schemas.microsoft.com/office/drawing/2014/main" val="3344795700"/>
                    </a:ext>
                  </a:extLst>
                </a:gridCol>
              </a:tblGrid>
              <a:tr h="312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bg2"/>
                          </a:solidFill>
                          <a:latin typeface="Calibri"/>
                          <a:cs typeface="Calibri"/>
                        </a:rPr>
                        <a:t>BACKGROUND</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Contractor</a:t>
                      </a: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Tx/>
                        <a:buSzTx/>
                        <a:buFontTx/>
                        <a:buNone/>
                      </a:pPr>
                      <a:r>
                        <a:rPr lang="en-US" sz="1500" b="0" i="0" u="none" strike="noStrike" kern="0" cap="none" spc="0" normalizeH="0" baseline="0" noProof="0" dirty="0">
                          <a:ln>
                            <a:noFill/>
                          </a:ln>
                          <a:solidFill>
                            <a:srgbClr val="000000"/>
                          </a:solidFill>
                          <a:effectLst/>
                          <a:uLnTx/>
                          <a:uFillTx/>
                          <a:latin typeface="Calibri"/>
                          <a:ea typeface="+mn-ea"/>
                          <a:cs typeface="Calibri"/>
                        </a:rPr>
                        <a:t>ELMEC</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Consultant </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i="0" u="none" strike="noStrike" kern="0" cap="none" spc="0" normalizeH="0" baseline="0" noProof="0" dirty="0">
                          <a:ln>
                            <a:noFill/>
                          </a:ln>
                          <a:solidFill>
                            <a:srgbClr val="000000"/>
                          </a:solidFill>
                          <a:effectLst/>
                          <a:uLnTx/>
                          <a:uFillTx/>
                          <a:latin typeface="Calibri"/>
                          <a:ea typeface="+mn-ea"/>
                          <a:cs typeface="Calibri"/>
                        </a:rPr>
                        <a:t>TRACTEBEL</a:t>
                      </a:r>
                      <a:endPar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647792776"/>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LOA Date</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lang="en-AE" sz="1500" b="0" kern="1200" dirty="0">
                          <a:solidFill>
                            <a:srgbClr val="000000"/>
                          </a:solidFill>
                          <a:latin typeface="Calibri"/>
                          <a:ea typeface="+mn-ea"/>
                          <a:cs typeface="Calibri"/>
                        </a:rPr>
                        <a:t>24.04.2023</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3034671016"/>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Awarded value:   </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sz="1200">
                          <a:latin typeface="Arial"/>
                        </a:rPr>
                        <a:t>AED 23000</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3563294586"/>
                  </a:ext>
                </a:extLst>
              </a:tr>
              <a:tr h="4397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dirty="0">
                          <a:ln>
                            <a:noFill/>
                          </a:ln>
                          <a:solidFill>
                            <a:prstClr val="black"/>
                          </a:solidFill>
                          <a:effectLst/>
                          <a:uLnTx/>
                          <a:uFillTx/>
                          <a:latin typeface="Calibri"/>
                          <a:cs typeface="Calibri"/>
                        </a:rPr>
                        <a:t>Contractual Completion Date</a:t>
                      </a:r>
                      <a:endParaRPr lang="en-AE" sz="1500" dirty="0">
                        <a:latin typeface="Calibri"/>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algn="l" defTabSz="914377" rtl="0" eaLnBrk="1" latinLnBrk="0" hangingPunct="1"/>
                      <a:r>
                        <a:rPr lang="en-US" sz="1500" b="0" kern="1200" dirty="0">
                          <a:solidFill>
                            <a:srgbClr val="000000"/>
                          </a:solidFill>
                          <a:latin typeface="Calibri"/>
                          <a:ea typeface="+mn-ea"/>
                          <a:cs typeface="Calibri"/>
                        </a:rPr>
                        <a:t>23.04.2025</a:t>
                      </a:r>
                      <a:endParaRPr lang="en-AE" sz="1500" b="0" kern="1200" dirty="0">
                        <a:solidFill>
                          <a:srgbClr val="000000"/>
                        </a:solidFill>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2580049488"/>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Expected Completion Date</a:t>
                      </a:r>
                      <a:endParaRPr lang="en-AE" sz="1500">
                        <a:latin typeface="Calibri"/>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sz="1200">
                          <a:latin typeface="Arial"/>
                        </a:rPr>
                        <a:t>AED 23000</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508999425"/>
                  </a:ext>
                </a:extLst>
              </a:tr>
            </a:tbl>
          </a:graphicData>
        </a:graphic>
      </p:graphicFrame>
      <p:graphicFrame>
        <p:nvGraphicFramePr>
          <p:cNvPr id="10" name="Table 9">
            <a:extLst>
              <a:ext uri="{FF2B5EF4-FFF2-40B4-BE49-F238E27FC236}">
                <a16:creationId xmlns:a16="http://schemas.microsoft.com/office/drawing/2014/main" id="{CE5DC9EF-B7C0-DA3A-1097-7B3070BE649F}"/>
              </a:ext>
            </a:extLst>
          </p:cNvPr>
          <p:cNvGraphicFramePr>
            <a:graphicFrameLocks noGrp="1"/>
          </p:cNvGraphicFramePr>
          <p:nvPr>
            <p:extLst>
              <p:ext uri="{D42A27DB-BD31-4B8C-83A1-F6EECF244321}">
                <p14:modId xmlns:p14="http://schemas.microsoft.com/office/powerpoint/2010/main" val="2099476728"/>
              </p:ext>
            </p:extLst>
          </p:nvPr>
        </p:nvGraphicFramePr>
        <p:xfrm>
          <a:off x="5207620" y="1559171"/>
          <a:ext cx="6714861" cy="2373841"/>
        </p:xfrm>
        <a:graphic>
          <a:graphicData uri="http://schemas.openxmlformats.org/drawingml/2006/table">
            <a:tbl>
              <a:tblPr firstRow="1" bandRow="1">
                <a:tableStyleId>{72833802-FEF1-4C79-8D5D-14CF1EAF98D9}</a:tableStyleId>
              </a:tblPr>
              <a:tblGrid>
                <a:gridCol w="6714861">
                  <a:extLst>
                    <a:ext uri="{9D8B030D-6E8A-4147-A177-3AD203B41FA5}">
                      <a16:colId xmlns:a16="http://schemas.microsoft.com/office/drawing/2014/main" val="3190165062"/>
                    </a:ext>
                  </a:extLst>
                </a:gridCol>
              </a:tblGrid>
              <a:tr h="35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bg2"/>
                          </a:solidFill>
                          <a:latin typeface="Calibri" panose="020F0502020204030204" pitchFamily="34" charset="0"/>
                          <a:cs typeface="Calibri" panose="020F0502020204030204" pitchFamily="34" charset="0"/>
                        </a:rPr>
                        <a:t>Project Schedule and Status Update</a:t>
                      </a:r>
                      <a:endParaRPr kumimoji="0" lang="en-AE" sz="1600" b="1" i="0" u="none" strike="noStrike" kern="0" cap="none" spc="0" normalizeH="0" baseline="0">
                        <a:ln>
                          <a:noFill/>
                        </a:ln>
                        <a:solidFill>
                          <a:schemeClr val="bg2"/>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0144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sp>
        <p:nvSpPr>
          <p:cNvPr id="1114" name="TextBox 1113">
            <a:extLst>
              <a:ext uri="{FF2B5EF4-FFF2-40B4-BE49-F238E27FC236}">
                <a16:creationId xmlns:a16="http://schemas.microsoft.com/office/drawing/2014/main" id="{9C79C0BA-ECA4-6251-7BDA-44861479AB59}"/>
              </a:ext>
            </a:extLst>
          </p:cNvPr>
          <p:cNvSpPr txBox="1"/>
          <p:nvPr/>
        </p:nvSpPr>
        <p:spPr>
          <a:xfrm>
            <a:off x="5977993" y="3606960"/>
            <a:ext cx="1421158" cy="276999"/>
          </a:xfrm>
          <a:prstGeom prst="rect">
            <a:avLst/>
          </a:prstGeom>
          <a:noFill/>
        </p:spPr>
        <p:txBody>
          <a:bodyPr wrap="none" rtlCol="0" anchor="ctr">
            <a:spAutoFit/>
          </a:bodyPr>
          <a:lstStyle/>
          <a:p>
            <a:pPr algn="ctr"/>
            <a:r>
              <a:rPr lang="en-AE" sz="1200" b="1">
                <a:solidFill>
                  <a:srgbClr val="111111"/>
                </a:solidFill>
                <a:latin typeface="Calibri" panose="020F0502020204030204" pitchFamily="34" charset="0"/>
                <a:cs typeface="Calibri" panose="020F0502020204030204" pitchFamily="34" charset="0"/>
              </a:rPr>
              <a:t>Overall Completion</a:t>
            </a:r>
          </a:p>
        </p:txBody>
      </p:sp>
      <p:sp>
        <p:nvSpPr>
          <p:cNvPr id="1121" name="TextBox 1120">
            <a:extLst>
              <a:ext uri="{FF2B5EF4-FFF2-40B4-BE49-F238E27FC236}">
                <a16:creationId xmlns:a16="http://schemas.microsoft.com/office/drawing/2014/main" id="{0735C201-5400-C4F1-B77E-66C79B0C8053}"/>
              </a:ext>
            </a:extLst>
          </p:cNvPr>
          <p:cNvSpPr txBox="1"/>
          <p:nvPr/>
        </p:nvSpPr>
        <p:spPr>
          <a:xfrm>
            <a:off x="9656454" y="3606960"/>
            <a:ext cx="911723" cy="276999"/>
          </a:xfrm>
          <a:prstGeom prst="rect">
            <a:avLst/>
          </a:prstGeom>
          <a:noFill/>
        </p:spPr>
        <p:txBody>
          <a:bodyPr wrap="none" rtlCol="0" anchor="ctr">
            <a:spAutoFit/>
          </a:bodyPr>
          <a:lstStyle/>
          <a:p>
            <a:pPr algn="ctr"/>
            <a:r>
              <a:rPr lang="en-AE" sz="1200" b="1">
                <a:solidFill>
                  <a:srgbClr val="111111"/>
                </a:solidFill>
                <a:latin typeface="Calibri" panose="020F0502020204030204" pitchFamily="34" charset="0"/>
                <a:cs typeface="Calibri" panose="020F0502020204030204" pitchFamily="34" charset="0"/>
              </a:rPr>
              <a:t>Breakdown</a:t>
            </a:r>
          </a:p>
        </p:txBody>
      </p:sp>
      <p:graphicFrame>
        <p:nvGraphicFramePr>
          <p:cNvPr id="19" name="Chart 18">
            <a:extLst>
              <a:ext uri="{FF2B5EF4-FFF2-40B4-BE49-F238E27FC236}">
                <a16:creationId xmlns:a16="http://schemas.microsoft.com/office/drawing/2014/main" id="{BCA2CDA3-2D0A-E846-714A-099DA12F6404}"/>
              </a:ext>
            </a:extLst>
          </p:cNvPr>
          <p:cNvGraphicFramePr/>
          <p:nvPr>
            <p:extLst>
              <p:ext uri="{D42A27DB-BD31-4B8C-83A1-F6EECF244321}">
                <p14:modId xmlns:p14="http://schemas.microsoft.com/office/powerpoint/2010/main" val="3486575110"/>
              </p:ext>
            </p:extLst>
          </p:nvPr>
        </p:nvGraphicFramePr>
        <p:xfrm>
          <a:off x="8302155" y="2194431"/>
          <a:ext cx="3620323" cy="1518631"/>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a:extLst>
              <a:ext uri="{FF2B5EF4-FFF2-40B4-BE49-F238E27FC236}">
                <a16:creationId xmlns:a16="http://schemas.microsoft.com/office/drawing/2014/main" id="{7D2B0F4F-7538-2A7E-2B1D-C7490E12504A}"/>
              </a:ext>
            </a:extLst>
          </p:cNvPr>
          <p:cNvGrpSpPr/>
          <p:nvPr/>
        </p:nvGrpSpPr>
        <p:grpSpPr>
          <a:xfrm>
            <a:off x="5429611" y="2002180"/>
            <a:ext cx="1879088" cy="260300"/>
            <a:chOff x="3973508" y="360058"/>
            <a:chExt cx="1645549" cy="235929"/>
          </a:xfrm>
        </p:grpSpPr>
        <p:sp>
          <p:nvSpPr>
            <p:cNvPr id="20" name="Rectangle 19">
              <a:extLst>
                <a:ext uri="{FF2B5EF4-FFF2-40B4-BE49-F238E27FC236}">
                  <a16:creationId xmlns:a16="http://schemas.microsoft.com/office/drawing/2014/main" id="{D8C1B54D-290B-079A-E04B-415C4BB0DA58}"/>
                </a:ext>
              </a:extLst>
            </p:cNvPr>
            <p:cNvSpPr/>
            <p:nvPr/>
          </p:nvSpPr>
          <p:spPr>
            <a:xfrm>
              <a:off x="3973508" y="426910"/>
              <a:ext cx="213481" cy="10247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sz="2400"/>
            </a:p>
          </p:txBody>
        </p:sp>
        <p:sp>
          <p:nvSpPr>
            <p:cNvPr id="21" name="Rectangle 20">
              <a:extLst>
                <a:ext uri="{FF2B5EF4-FFF2-40B4-BE49-F238E27FC236}">
                  <a16:creationId xmlns:a16="http://schemas.microsoft.com/office/drawing/2014/main" id="{AED0FFF2-CE69-F16E-8DAC-A29177CA1506}"/>
                </a:ext>
              </a:extLst>
            </p:cNvPr>
            <p:cNvSpPr/>
            <p:nvPr/>
          </p:nvSpPr>
          <p:spPr>
            <a:xfrm>
              <a:off x="4807286" y="426910"/>
              <a:ext cx="213481" cy="102479"/>
            </a:xfrm>
            <a:prstGeom prst="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sz="2400"/>
            </a:p>
          </p:txBody>
        </p:sp>
        <p:sp>
          <p:nvSpPr>
            <p:cNvPr id="22" name="TextBox 21">
              <a:extLst>
                <a:ext uri="{FF2B5EF4-FFF2-40B4-BE49-F238E27FC236}">
                  <a16:creationId xmlns:a16="http://schemas.microsoft.com/office/drawing/2014/main" id="{85661071-68E2-BA74-39B7-C6CDE19D9149}"/>
                </a:ext>
              </a:extLst>
            </p:cNvPr>
            <p:cNvSpPr txBox="1"/>
            <p:nvPr/>
          </p:nvSpPr>
          <p:spPr>
            <a:xfrm>
              <a:off x="4186988" y="363462"/>
              <a:ext cx="494411" cy="232525"/>
            </a:xfrm>
            <a:prstGeom prst="rect">
              <a:avLst/>
            </a:prstGeom>
            <a:noFill/>
          </p:spPr>
          <p:txBody>
            <a:bodyPr wrap="none" rtlCol="0">
              <a:spAutoFit/>
            </a:bodyPr>
            <a:lstStyle/>
            <a:p>
              <a:r>
                <a:rPr lang="en-AE" sz="1067"/>
                <a:t>Actual</a:t>
              </a:r>
            </a:p>
          </p:txBody>
        </p:sp>
        <p:sp>
          <p:nvSpPr>
            <p:cNvPr id="23" name="TextBox 22">
              <a:extLst>
                <a:ext uri="{FF2B5EF4-FFF2-40B4-BE49-F238E27FC236}">
                  <a16:creationId xmlns:a16="http://schemas.microsoft.com/office/drawing/2014/main" id="{56597B4A-76D3-678C-3B60-A9AA382E5B19}"/>
                </a:ext>
              </a:extLst>
            </p:cNvPr>
            <p:cNvSpPr txBox="1"/>
            <p:nvPr/>
          </p:nvSpPr>
          <p:spPr>
            <a:xfrm>
              <a:off x="5020767" y="360058"/>
              <a:ext cx="598290" cy="232525"/>
            </a:xfrm>
            <a:prstGeom prst="rect">
              <a:avLst/>
            </a:prstGeom>
            <a:noFill/>
          </p:spPr>
          <p:txBody>
            <a:bodyPr wrap="none" rtlCol="0">
              <a:spAutoFit/>
            </a:bodyPr>
            <a:lstStyle/>
            <a:p>
              <a:r>
                <a:rPr lang="en-AE" sz="1067"/>
                <a:t>Planned</a:t>
              </a:r>
            </a:p>
          </p:txBody>
        </p:sp>
      </p:grpSp>
      <p:graphicFrame>
        <p:nvGraphicFramePr>
          <p:cNvPr id="15" name="Chart 14">
            <a:extLst>
              <a:ext uri="{FF2B5EF4-FFF2-40B4-BE49-F238E27FC236}">
                <a16:creationId xmlns:a16="http://schemas.microsoft.com/office/drawing/2014/main" id="{0E7CBEA2-E38B-CC0E-B74B-1BE40C463F43}"/>
              </a:ext>
            </a:extLst>
          </p:cNvPr>
          <p:cNvGraphicFramePr/>
          <p:nvPr>
            <p:extLst>
              <p:ext uri="{D42A27DB-BD31-4B8C-83A1-F6EECF244321}">
                <p14:modId xmlns:p14="http://schemas.microsoft.com/office/powerpoint/2010/main" val="494115182"/>
              </p:ext>
            </p:extLst>
          </p:nvPr>
        </p:nvGraphicFramePr>
        <p:xfrm>
          <a:off x="5509083" y="2346055"/>
          <a:ext cx="2358979" cy="155710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146852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CA2E499-632E-219B-E254-01EA7B97B72D}"/>
              </a:ext>
            </a:extLst>
          </p:cNvPr>
          <p:cNvGraphicFramePr>
            <a:graphicFrameLocks noChangeAspect="1"/>
          </p:cNvGraphicFramePr>
          <p:nvPr>
            <p:custDataLst>
              <p:tags r:id="rId1"/>
            </p:custDataLst>
            <p:extLst>
              <p:ext uri="{D42A27DB-BD31-4B8C-83A1-F6EECF244321}">
                <p14:modId xmlns:p14="http://schemas.microsoft.com/office/powerpoint/2010/main" val="266085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6" name="think-cell data - do not delete" hidden="1">
                        <a:extLst>
                          <a:ext uri="{FF2B5EF4-FFF2-40B4-BE49-F238E27FC236}">
                            <a16:creationId xmlns:a16="http://schemas.microsoft.com/office/drawing/2014/main" id="{ACA2E499-632E-219B-E254-01EA7B97B7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Slide Number Placeholder 2">
            <a:extLst>
              <a:ext uri="{FF2B5EF4-FFF2-40B4-BE49-F238E27FC236}">
                <a16:creationId xmlns:a16="http://schemas.microsoft.com/office/drawing/2014/main" id="{B6DF4978-4DDF-CF2D-F250-F52E9578F4DB}"/>
              </a:ext>
            </a:extLst>
          </p:cNvPr>
          <p:cNvSpPr>
            <a:spLocks noGrp="1"/>
          </p:cNvSpPr>
          <p:nvPr>
            <p:ph type="sldNum" sz="quarter" idx="12"/>
          </p:nvPr>
        </p:nvSpPr>
        <p:spPr>
          <a:xfrm>
            <a:off x="11513342" y="6349010"/>
            <a:ext cx="454541" cy="365125"/>
          </a:xfrm>
        </p:spPr>
        <p:txBody>
          <a:bodyPr/>
          <a:lstStyle/>
          <a:p>
            <a:pPr>
              <a:spcAft>
                <a:spcPts val="800"/>
              </a:spcAft>
            </a:pPr>
            <a:fld id="{854859ED-44A4-D445-A4CC-FFA1A5BEF902}" type="slidenum">
              <a:rPr lang="en-US" smtClean="0"/>
              <a:pPr>
                <a:spcAft>
                  <a:spcPts val="800"/>
                </a:spcAft>
              </a:pPr>
              <a:t>3</a:t>
            </a:fld>
            <a:endParaRPr lang="en-US"/>
          </a:p>
        </p:txBody>
      </p:sp>
      <p:sp>
        <p:nvSpPr>
          <p:cNvPr id="5" name="Text Placeholder 4">
            <a:extLst>
              <a:ext uri="{FF2B5EF4-FFF2-40B4-BE49-F238E27FC236}">
                <a16:creationId xmlns:a16="http://schemas.microsoft.com/office/drawing/2014/main" id="{F888CE3D-2013-EAD4-FBEA-47D49017C7D2}"/>
              </a:ext>
            </a:extLst>
          </p:cNvPr>
          <p:cNvSpPr>
            <a:spLocks noGrp="1"/>
          </p:cNvSpPr>
          <p:nvPr>
            <p:ph type="body" idx="1"/>
          </p:nvPr>
        </p:nvSpPr>
        <p:spPr>
          <a:xfrm>
            <a:off x="338341" y="968476"/>
            <a:ext cx="10008865" cy="445001"/>
          </a:xfrm>
        </p:spPr>
        <p:txBody>
          <a:bodyPr anchor="ctr">
            <a:normAutofit/>
          </a:bodyPr>
          <a:lstStyle/>
          <a:p>
            <a:pPr>
              <a:spcAft>
                <a:spcPts val="800"/>
              </a:spcAft>
            </a:pPr>
            <a:r>
              <a:rPr lang="en-US" sz="2000"/>
              <a:t>Procurement Status</a:t>
            </a:r>
          </a:p>
        </p:txBody>
      </p:sp>
      <p:sp>
        <p:nvSpPr>
          <p:cNvPr id="3" name="Slide Number Placeholder 2" hidden="1">
            <a:extLst>
              <a:ext uri="{FF2B5EF4-FFF2-40B4-BE49-F238E27FC236}">
                <a16:creationId xmlns:a16="http://schemas.microsoft.com/office/drawing/2014/main" id="{981D30A8-94F7-4A66-2B37-FC98AAA85AE8}"/>
              </a:ext>
            </a:extLst>
          </p:cNvPr>
          <p:cNvSpPr>
            <a:spLocks noGrp="1"/>
          </p:cNvSpPr>
          <p:nvPr>
            <p:ph type="sldNum" sz="quarter" idx="4294967295"/>
          </p:nvPr>
        </p:nvSpPr>
        <p:spPr>
          <a:xfrm>
            <a:off x="11513342" y="6349010"/>
            <a:ext cx="454541" cy="365125"/>
          </a:xfrm>
          <a:prstGeom prst="rect">
            <a:avLst/>
          </a:prstGeom>
        </p:spPr>
        <p:txBody>
          <a:bodyPr/>
          <a:lstStyle/>
          <a:p>
            <a:pPr>
              <a:spcAft>
                <a:spcPts val="800"/>
              </a:spcAft>
            </a:pPr>
            <a:fld id="{854859ED-44A4-D445-A4CC-FFA1A5BEF902}" type="slidenum">
              <a:rPr lang="en-US" smtClean="0"/>
              <a:pPr>
                <a:spcAft>
                  <a:spcPts val="800"/>
                </a:spcAft>
              </a:pPr>
              <a:t>3</a:t>
            </a:fld>
            <a:endParaRPr lang="en-US"/>
          </a:p>
        </p:txBody>
      </p:sp>
      <p:graphicFrame>
        <p:nvGraphicFramePr>
          <p:cNvPr id="2" name="Content Placeholder 11">
            <a:extLst>
              <a:ext uri="{FF2B5EF4-FFF2-40B4-BE49-F238E27FC236}">
                <a16:creationId xmlns:a16="http://schemas.microsoft.com/office/drawing/2014/main" id="{12BB7CC7-694F-AA0D-50D2-D7EA361BF462}"/>
              </a:ext>
            </a:extLst>
          </p:cNvPr>
          <p:cNvGraphicFramePr>
            <a:graphicFrameLocks noGrp="1"/>
          </p:cNvGraphicFramePr>
          <p:nvPr>
            <p:ph sz="quarter" idx="15"/>
            <p:extLst>
              <p:ext uri="{D42A27DB-BD31-4B8C-83A1-F6EECF244321}">
                <p14:modId xmlns:p14="http://schemas.microsoft.com/office/powerpoint/2010/main" val="2647991993"/>
              </p:ext>
            </p:extLst>
          </p:nvPr>
        </p:nvGraphicFramePr>
        <p:xfrm>
          <a:off x="678658" y="2203523"/>
          <a:ext cx="10729042" cy="3939746"/>
        </p:xfrm>
        <a:graphic>
          <a:graphicData uri="http://schemas.openxmlformats.org/drawingml/2006/table">
            <a:tbl>
              <a:tblPr firstRow="1" firstCol="1" bandRow="1"/>
              <a:tblGrid>
                <a:gridCol w="1327235">
                  <a:extLst>
                    <a:ext uri="{9D8B030D-6E8A-4147-A177-3AD203B41FA5}">
                      <a16:colId xmlns:a16="http://schemas.microsoft.com/office/drawing/2014/main" val="2586531327"/>
                    </a:ext>
                  </a:extLst>
                </a:gridCol>
                <a:gridCol w="783484">
                  <a:extLst>
                    <a:ext uri="{9D8B030D-6E8A-4147-A177-3AD203B41FA5}">
                      <a16:colId xmlns:a16="http://schemas.microsoft.com/office/drawing/2014/main" val="1191225224"/>
                    </a:ext>
                  </a:extLst>
                </a:gridCol>
                <a:gridCol w="766639">
                  <a:extLst>
                    <a:ext uri="{9D8B030D-6E8A-4147-A177-3AD203B41FA5}">
                      <a16:colId xmlns:a16="http://schemas.microsoft.com/office/drawing/2014/main" val="2421864855"/>
                    </a:ext>
                  </a:extLst>
                </a:gridCol>
                <a:gridCol w="800329">
                  <a:extLst>
                    <a:ext uri="{9D8B030D-6E8A-4147-A177-3AD203B41FA5}">
                      <a16:colId xmlns:a16="http://schemas.microsoft.com/office/drawing/2014/main" val="1378622915"/>
                    </a:ext>
                  </a:extLst>
                </a:gridCol>
                <a:gridCol w="783484">
                  <a:extLst>
                    <a:ext uri="{9D8B030D-6E8A-4147-A177-3AD203B41FA5}">
                      <a16:colId xmlns:a16="http://schemas.microsoft.com/office/drawing/2014/main" val="3440573052"/>
                    </a:ext>
                  </a:extLst>
                </a:gridCol>
                <a:gridCol w="783484">
                  <a:extLst>
                    <a:ext uri="{9D8B030D-6E8A-4147-A177-3AD203B41FA5}">
                      <a16:colId xmlns:a16="http://schemas.microsoft.com/office/drawing/2014/main" val="1800032662"/>
                    </a:ext>
                  </a:extLst>
                </a:gridCol>
                <a:gridCol w="767802">
                  <a:extLst>
                    <a:ext uri="{9D8B030D-6E8A-4147-A177-3AD203B41FA5}">
                      <a16:colId xmlns:a16="http://schemas.microsoft.com/office/drawing/2014/main" val="4190280949"/>
                    </a:ext>
                  </a:extLst>
                </a:gridCol>
                <a:gridCol w="799165">
                  <a:extLst>
                    <a:ext uri="{9D8B030D-6E8A-4147-A177-3AD203B41FA5}">
                      <a16:colId xmlns:a16="http://schemas.microsoft.com/office/drawing/2014/main" val="3861967691"/>
                    </a:ext>
                  </a:extLst>
                </a:gridCol>
                <a:gridCol w="783484">
                  <a:extLst>
                    <a:ext uri="{9D8B030D-6E8A-4147-A177-3AD203B41FA5}">
                      <a16:colId xmlns:a16="http://schemas.microsoft.com/office/drawing/2014/main" val="761406981"/>
                    </a:ext>
                  </a:extLst>
                </a:gridCol>
                <a:gridCol w="783484">
                  <a:extLst>
                    <a:ext uri="{9D8B030D-6E8A-4147-A177-3AD203B41FA5}">
                      <a16:colId xmlns:a16="http://schemas.microsoft.com/office/drawing/2014/main" val="1471581007"/>
                    </a:ext>
                  </a:extLst>
                </a:gridCol>
                <a:gridCol w="783484">
                  <a:extLst>
                    <a:ext uri="{9D8B030D-6E8A-4147-A177-3AD203B41FA5}">
                      <a16:colId xmlns:a16="http://schemas.microsoft.com/office/drawing/2014/main" val="2520448707"/>
                    </a:ext>
                  </a:extLst>
                </a:gridCol>
                <a:gridCol w="783484">
                  <a:extLst>
                    <a:ext uri="{9D8B030D-6E8A-4147-A177-3AD203B41FA5}">
                      <a16:colId xmlns:a16="http://schemas.microsoft.com/office/drawing/2014/main" val="3804509206"/>
                    </a:ext>
                  </a:extLst>
                </a:gridCol>
                <a:gridCol w="783484">
                  <a:extLst>
                    <a:ext uri="{9D8B030D-6E8A-4147-A177-3AD203B41FA5}">
                      <a16:colId xmlns:a16="http://schemas.microsoft.com/office/drawing/2014/main" val="714942106"/>
                    </a:ext>
                  </a:extLst>
                </a:gridCol>
              </a:tblGrid>
              <a:tr h="631562">
                <a:tc row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ACTIVITY</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baseline="0" noProof="0" dirty="0">
                          <a:solidFill>
                            <a:srgbClr val="FFFFFF"/>
                          </a:solidFill>
                          <a:effectLst/>
                          <a:latin typeface="Calibri"/>
                        </a:rPr>
                        <a:t>132kV GIS &amp; LLC</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33kV GIS</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Power Transformer</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132kV SCMS System</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110V DC System</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Protection Equipment</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extLst>
                  <a:ext uri="{0D108BD9-81ED-4DB2-BD59-A6C34878D82A}">
                    <a16:rowId xmlns:a16="http://schemas.microsoft.com/office/drawing/2014/main" val="2840603177"/>
                  </a:ext>
                </a:extLst>
              </a:tr>
              <a:tr h="631562">
                <a:tc vMerge="1">
                  <a:txBody>
                    <a:bodyPr/>
                    <a:lstStyle/>
                    <a:p>
                      <a:endParaRPr lang="en-AE"/>
                    </a:p>
                  </a:txBody>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PLAN</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Expected/</a:t>
                      </a:r>
                    </a:p>
                    <a:p>
                      <a:pPr marL="0" marR="0" algn="ctr">
                        <a:spcBef>
                          <a:spcPts val="0"/>
                        </a:spcBef>
                        <a:spcAft>
                          <a:spcPts val="0"/>
                        </a:spcAft>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Expected/</a:t>
                      </a:r>
                    </a:p>
                    <a:p>
                      <a:pPr marL="0" marR="0" algn="ctr">
                        <a:spcBef>
                          <a:spcPts val="0"/>
                        </a:spcBef>
                        <a:spcAft>
                          <a:spcPts val="0"/>
                        </a:spcAft>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1040975937"/>
                  </a:ext>
                </a:extLst>
              </a:tr>
              <a:tr h="526302">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Manufacturing Start</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17.11.2023</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0000FF"/>
                          </a:solidFill>
                          <a:latin typeface="Arial"/>
                        </a:rPr>
                        <a:t>17.11.2023</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22.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31.01.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0.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008000"/>
                          </a:solidFill>
                          <a:latin typeface="Arial"/>
                        </a:rPr>
                        <a:t>15.12.2023</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4.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4.05.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9.0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4.05.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5.0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5.04.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2885866721"/>
                  </a:ext>
                </a:extLst>
              </a:tr>
              <a:tr h="556377">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FAT</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4.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4.10.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6.06.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0000FF"/>
                          </a:solidFill>
                          <a:latin typeface="Arial"/>
                        </a:rPr>
                        <a:t>06.06.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noProof="0" dirty="0">
                          <a:solidFill>
                            <a:srgbClr val="000000"/>
                          </a:solidFill>
                          <a:effectLst/>
                          <a:latin typeface="Calibri"/>
                        </a:rPr>
                        <a:t>27.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008000"/>
                          </a:solidFill>
                          <a:latin typeface="Arial"/>
                        </a:rPr>
                        <a:t>25.06.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0.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07.04.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5.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0.01.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1.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4.04.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3037616615"/>
                  </a:ext>
                </a:extLst>
              </a:tr>
              <a:tr h="526302">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Delivery </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17.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08.04.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24.08.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5.11.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noProof="0" dirty="0">
                          <a:solidFill>
                            <a:srgbClr val="000000"/>
                          </a:solidFill>
                          <a:effectLst/>
                          <a:latin typeface="Calibri"/>
                        </a:rPr>
                        <a:t>14.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0.11.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07.06.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8.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1.03.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3.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30.04.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103622177"/>
                  </a:ext>
                </a:extLst>
              </a:tr>
              <a:tr h="541339">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Installation (completion)</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8.1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4.06.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1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30.06.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4.1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5.04.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1.1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6.06.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7.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02.06.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8.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7.05.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4224950586"/>
                  </a:ext>
                </a:extLst>
              </a:tr>
              <a:tr h="526302">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T&amp;C (Completion)</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7.02.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5.09.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5.01.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5.09.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9.01.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03.07.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04.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30.09.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1.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6.06.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7.02.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0000FF"/>
                          </a:solidFill>
                          <a:latin typeface="Arial"/>
                        </a:rPr>
                        <a:t>07.02.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4052182636"/>
                  </a:ext>
                </a:extLst>
              </a:tr>
            </a:tbl>
          </a:graphicData>
        </a:graphic>
      </p:graphicFrame>
      <p:sp>
        <p:nvSpPr>
          <p:cNvPr id="10" name="Oval 9">
            <a:extLst>
              <a:ext uri="{FF2B5EF4-FFF2-40B4-BE49-F238E27FC236}">
                <a16:creationId xmlns:a16="http://schemas.microsoft.com/office/drawing/2014/main" id="{BBCEE1EB-85B7-46BB-F15C-2A86C954DB8E}"/>
              </a:ext>
            </a:extLst>
          </p:cNvPr>
          <p:cNvSpPr/>
          <p:nvPr/>
        </p:nvSpPr>
        <p:spPr>
          <a:xfrm>
            <a:off x="403682" y="1648119"/>
            <a:ext cx="274976" cy="17625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1" name="Oval 10">
            <a:extLst>
              <a:ext uri="{FF2B5EF4-FFF2-40B4-BE49-F238E27FC236}">
                <a16:creationId xmlns:a16="http://schemas.microsoft.com/office/drawing/2014/main" id="{849BD821-F1C4-FED8-A9A6-2AC75B9A9534}"/>
              </a:ext>
            </a:extLst>
          </p:cNvPr>
          <p:cNvSpPr/>
          <p:nvPr/>
        </p:nvSpPr>
        <p:spPr>
          <a:xfrm>
            <a:off x="1581661" y="1650901"/>
            <a:ext cx="274976" cy="17625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2" name="Oval 11">
            <a:extLst>
              <a:ext uri="{FF2B5EF4-FFF2-40B4-BE49-F238E27FC236}">
                <a16:creationId xmlns:a16="http://schemas.microsoft.com/office/drawing/2014/main" id="{4767BFE1-0249-D83E-8862-1C74969893D6}"/>
              </a:ext>
            </a:extLst>
          </p:cNvPr>
          <p:cNvSpPr/>
          <p:nvPr/>
        </p:nvSpPr>
        <p:spPr>
          <a:xfrm>
            <a:off x="2704550" y="1643382"/>
            <a:ext cx="274976" cy="176252"/>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3" name="TextBox 12">
            <a:extLst>
              <a:ext uri="{FF2B5EF4-FFF2-40B4-BE49-F238E27FC236}">
                <a16:creationId xmlns:a16="http://schemas.microsoft.com/office/drawing/2014/main" id="{B13F8DF2-6389-6117-2BF6-6BEE4E5B037F}"/>
              </a:ext>
            </a:extLst>
          </p:cNvPr>
          <p:cNvSpPr txBox="1"/>
          <p:nvPr/>
        </p:nvSpPr>
        <p:spPr>
          <a:xfrm>
            <a:off x="1843090" y="1605469"/>
            <a:ext cx="671890" cy="246221"/>
          </a:xfrm>
          <a:prstGeom prst="rect">
            <a:avLst/>
          </a:prstGeom>
          <a:noFill/>
        </p:spPr>
        <p:txBody>
          <a:bodyPr wrap="square" rtlCol="0">
            <a:spAutoFit/>
          </a:bodyPr>
          <a:lstStyle/>
          <a:p>
            <a:r>
              <a:rPr lang="en-US" sz="1000" b="1"/>
              <a:t>On time</a:t>
            </a:r>
            <a:endParaRPr lang="en-AE" sz="1000" b="1"/>
          </a:p>
        </p:txBody>
      </p:sp>
      <p:sp>
        <p:nvSpPr>
          <p:cNvPr id="14" name="TextBox 13">
            <a:extLst>
              <a:ext uri="{FF2B5EF4-FFF2-40B4-BE49-F238E27FC236}">
                <a16:creationId xmlns:a16="http://schemas.microsoft.com/office/drawing/2014/main" id="{156F21C2-BBE9-8C8E-EFFE-90E3A6E7D8C4}"/>
              </a:ext>
            </a:extLst>
          </p:cNvPr>
          <p:cNvSpPr txBox="1"/>
          <p:nvPr/>
        </p:nvSpPr>
        <p:spPr>
          <a:xfrm>
            <a:off x="682917" y="1595607"/>
            <a:ext cx="809536" cy="400110"/>
          </a:xfrm>
          <a:prstGeom prst="rect">
            <a:avLst/>
          </a:prstGeom>
          <a:noFill/>
        </p:spPr>
        <p:txBody>
          <a:bodyPr wrap="square" rtlCol="0">
            <a:spAutoFit/>
          </a:bodyPr>
          <a:lstStyle/>
          <a:p>
            <a:r>
              <a:rPr lang="en-GB" sz="1000" b="1"/>
              <a:t>A</a:t>
            </a:r>
            <a:r>
              <a:rPr lang="en-AE" sz="1000" b="1"/>
              <a:t>head of schedule</a:t>
            </a:r>
          </a:p>
        </p:txBody>
      </p:sp>
      <p:sp>
        <p:nvSpPr>
          <p:cNvPr id="15" name="TextBox 14">
            <a:extLst>
              <a:ext uri="{FF2B5EF4-FFF2-40B4-BE49-F238E27FC236}">
                <a16:creationId xmlns:a16="http://schemas.microsoft.com/office/drawing/2014/main" id="{3B79E003-87F8-554C-CD6D-2163805FD2A9}"/>
              </a:ext>
            </a:extLst>
          </p:cNvPr>
          <p:cNvSpPr txBox="1"/>
          <p:nvPr/>
        </p:nvSpPr>
        <p:spPr>
          <a:xfrm>
            <a:off x="2928812" y="1591528"/>
            <a:ext cx="1038630" cy="246221"/>
          </a:xfrm>
          <a:prstGeom prst="rect">
            <a:avLst/>
          </a:prstGeom>
          <a:noFill/>
        </p:spPr>
        <p:txBody>
          <a:bodyPr wrap="square" rtlCol="0">
            <a:spAutoFit/>
          </a:bodyPr>
          <a:lstStyle/>
          <a:p>
            <a:r>
              <a:rPr lang="en-US" sz="1000" b="1"/>
              <a:t>Delayed</a:t>
            </a:r>
            <a:endParaRPr lang="en-AE" sz="1000" b="1"/>
          </a:p>
        </p:txBody>
      </p:sp>
      <p:sp>
        <p:nvSpPr>
          <p:cNvPr id="9" name="Title 8">
            <a:extLst>
              <a:ext uri="{FF2B5EF4-FFF2-40B4-BE49-F238E27FC236}">
                <a16:creationId xmlns:a16="http://schemas.microsoft.com/office/drawing/2014/main" id="{E07FB20F-B7EB-7F47-A2C4-823C70A22D71}"/>
              </a:ext>
            </a:extLst>
          </p:cNvPr>
          <p:cNvSpPr>
            <a:spLocks noGrp="1"/>
          </p:cNvSpPr>
          <p:nvPr>
            <p:ph type="title" idx="4294967295"/>
          </p:nvPr>
        </p:nvSpPr>
        <p:spPr>
          <a:xfrm>
            <a:off x="399917" y="346429"/>
            <a:ext cx="11286561" cy="446627"/>
          </a:xfrm>
          <a:prstGeom prst="rect">
            <a:avLst/>
          </a:prstGeom>
        </p:spPr>
        <p:txBody>
          <a:bodyPr vert="horz" lIns="91440" tIns="45720" rIns="91440" bIns="45720" anchor="t"/>
          <a:lstStyle/>
          <a:p>
            <a:r>
              <a:rPr lang="en-US" sz="2200" b="1" dirty="0">
                <a:highlight>
                  <a:srgbClr val="FFFF00"/>
                </a:highlight>
              </a:rPr>
              <a:t>N-17720 – New 132/33kV KIZAD Substation and Related 132kv Cable Works</a:t>
            </a:r>
            <a:endParaRPr lang="en-US" sz="2200">
              <a:highlight>
                <a:srgbClr val="00FF00"/>
              </a:highlight>
              <a:cs typeface="Arial"/>
            </a:endParaRPr>
          </a:p>
        </p:txBody>
      </p:sp>
    </p:spTree>
    <p:extLst>
      <p:ext uri="{BB962C8B-B14F-4D97-AF65-F5344CB8AC3E}">
        <p14:creationId xmlns:p14="http://schemas.microsoft.com/office/powerpoint/2010/main" val="1221362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 %1 %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B7&quot; b=&quot;8F&quot;/&gt;&lt;/elem&gt;&lt;/m_vecMRU&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AQA Transmission ">
      <a:dk1>
        <a:srgbClr val="FFFFFF"/>
      </a:dk1>
      <a:lt1>
        <a:srgbClr val="00093F"/>
      </a:lt1>
      <a:dk2>
        <a:srgbClr val="FFFFFF"/>
      </a:dk2>
      <a:lt2>
        <a:srgbClr val="00093F"/>
      </a:lt2>
      <a:accent1>
        <a:srgbClr val="089ED1"/>
      </a:accent1>
      <a:accent2>
        <a:srgbClr val="FF5F00"/>
      </a:accent2>
      <a:accent3>
        <a:srgbClr val="719ABC"/>
      </a:accent3>
      <a:accent4>
        <a:srgbClr val="B5D7BE"/>
      </a:accent4>
      <a:accent5>
        <a:srgbClr val="CC8989"/>
      </a:accent5>
      <a:accent6>
        <a:srgbClr val="F6D286"/>
      </a:accent6>
      <a:hlink>
        <a:srgbClr val="089ED1"/>
      </a:hlink>
      <a:folHlink>
        <a:srgbClr val="FF5100"/>
      </a:folHlink>
    </a:clrScheme>
    <a:fontScheme name="Custom 64">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FBD9D875B949E4CA811914009E0C294" ma:contentTypeVersion="3" ma:contentTypeDescription="Create a new document." ma:contentTypeScope="" ma:versionID="e6fb136b586778e3156891d90f67dc33">
  <xsd:schema xmlns:xsd="http://www.w3.org/2001/XMLSchema" xmlns:xs="http://www.w3.org/2001/XMLSchema" xmlns:p="http://schemas.microsoft.com/office/2006/metadata/properties" xmlns:ns2="47fee4ea-d4f5-43ab-b0d5-b121101f483f" targetNamespace="http://schemas.microsoft.com/office/2006/metadata/properties" ma:root="true" ma:fieldsID="1cbdcdae3fc1d5a13fd7976a550fdd4d" ns2:_="">
    <xsd:import namespace="47fee4ea-d4f5-43ab-b0d5-b121101f483f"/>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fee4ea-d4f5-43ab-b0d5-b121101f48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3CDE1B-E8E9-4FA5-BCE8-74ABC7292F5E}">
  <ds:schemaRefs>
    <ds:schemaRef ds:uri="http://schemas.microsoft.com/sharepoint/v3/contenttype/forms"/>
  </ds:schemaRefs>
</ds:datastoreItem>
</file>

<file path=customXml/itemProps2.xml><?xml version="1.0" encoding="utf-8"?>
<ds:datastoreItem xmlns:ds="http://schemas.openxmlformats.org/officeDocument/2006/customXml" ds:itemID="{F08AE888-FF49-43B8-A952-D15F6729957C}">
  <ds:schemaRefs>
    <ds:schemaRef ds:uri="http://www.w3.org/XML/1998/namespace"/>
    <ds:schemaRef ds:uri="http://schemas.microsoft.com/office/2006/metadata/properties"/>
    <ds:schemaRef ds:uri="http://schemas.microsoft.com/office/2006/documentManagement/types"/>
    <ds:schemaRef ds:uri="http://purl.org/dc/dcmitype/"/>
    <ds:schemaRef ds:uri="http://schemas.microsoft.com/office/infopath/2007/PartnerControls"/>
    <ds:schemaRef ds:uri="http://purl.org/dc/elements/1.1/"/>
    <ds:schemaRef ds:uri="http://schemas.openxmlformats.org/package/2006/metadata/core-properties"/>
    <ds:schemaRef ds:uri="442ee1ea-54e5-432f-83b2-d2507de64abd"/>
    <ds:schemaRef ds:uri="http://purl.org/dc/terms/"/>
  </ds:schemaRefs>
</ds:datastoreItem>
</file>

<file path=customXml/itemProps3.xml><?xml version="1.0" encoding="utf-8"?>
<ds:datastoreItem xmlns:ds="http://schemas.openxmlformats.org/officeDocument/2006/customXml" ds:itemID="{DED299C8-6DC8-4CDA-9A80-3F466BCA87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fee4ea-d4f5-43ab-b0d5-b121101f48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TotalTime>
  <Words>389</Words>
  <Application>Microsoft Office PowerPoint</Application>
  <PresentationFormat>Widescreen</PresentationFormat>
  <Paragraphs>143</Paragraphs>
  <Slides>3</Slides>
  <Notes>2</Notes>
  <HiddenSlides>0</HiddenSlides>
  <MMClips>0</MMClips>
  <ScaleCrop>false</ScaleCrop>
  <HeadingPairs>
    <vt:vector size="4" baseType="variant">
      <vt:variant>
        <vt:lpstr>Theme</vt:lpstr>
      </vt:variant>
      <vt:variant>
        <vt:i4>1</vt:i4>
      </vt:variant>
      <vt:variant>
        <vt:lpstr>Slide Titles</vt:lpstr>
      </vt:variant>
      <vt:variant>
        <vt:i4>3</vt:i4>
      </vt:variant>
    </vt:vector>
  </HeadingPairs>
  <TitlesOfParts>
    <vt:vector size="4" baseType="lpstr">
      <vt:lpstr>1_Office Theme</vt:lpstr>
      <vt:lpstr>N-17720 – New 132/33kv KIZAD Substation and Related 132kv Cable Works</vt:lpstr>
      <vt:lpstr>N-17720 – New 132/33kv KIZAD Substation and Related 132kv Cable Works</vt:lpstr>
      <vt:lpstr>N-17720 – New 132/33kV KIZAD Substation and Related 132kv Cable Wor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PO Monthly Meeting</dc:title>
  <dc:creator>Farhana Chowdhury</dc:creator>
  <cp:lastModifiedBy>Abdulfatah AlHajeri</cp:lastModifiedBy>
  <cp:revision>14</cp:revision>
  <dcterms:created xsi:type="dcterms:W3CDTF">2025-02-03T13:58:16Z</dcterms:created>
  <dcterms:modified xsi:type="dcterms:W3CDTF">2025-05-30T11:2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BD9D875B949E4CA811914009E0C294</vt:lpwstr>
  </property>
  <property fmtid="{D5CDD505-2E9C-101B-9397-08002B2CF9AE}" pid="3" name="TriggerFlowInfo">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xd_Signature">
    <vt:bool>false</vt:bool>
  </property>
  <property fmtid="{D5CDD505-2E9C-101B-9397-08002B2CF9AE}" pid="8" name="xd_ProgID">
    <vt:lpwstr/>
  </property>
  <property fmtid="{D5CDD505-2E9C-101B-9397-08002B2CF9AE}" pid="9" name="Order">
    <vt:r8>9900</vt:r8>
  </property>
</Properties>
</file>